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</p:sldMasterIdLst>
  <p:notesMasterIdLst>
    <p:notesMasterId r:id="rId55"/>
  </p:notesMasterIdLst>
  <p:sldIdLst>
    <p:sldId id="257" r:id="rId3"/>
    <p:sldId id="259" r:id="rId4"/>
    <p:sldId id="395" r:id="rId5"/>
    <p:sldId id="260" r:id="rId6"/>
    <p:sldId id="261" r:id="rId7"/>
    <p:sldId id="315" r:id="rId8"/>
    <p:sldId id="263" r:id="rId9"/>
    <p:sldId id="368" r:id="rId10"/>
    <p:sldId id="383" r:id="rId11"/>
    <p:sldId id="369" r:id="rId12"/>
    <p:sldId id="370" r:id="rId13"/>
    <p:sldId id="405" r:id="rId14"/>
    <p:sldId id="317" r:id="rId15"/>
    <p:sldId id="318" r:id="rId16"/>
    <p:sldId id="406" r:id="rId17"/>
    <p:sldId id="319" r:id="rId18"/>
    <p:sldId id="407" r:id="rId19"/>
    <p:sldId id="353" r:id="rId20"/>
    <p:sldId id="397" r:id="rId21"/>
    <p:sldId id="403" r:id="rId22"/>
    <p:sldId id="398" r:id="rId23"/>
    <p:sldId id="399" r:id="rId24"/>
    <p:sldId id="400" r:id="rId25"/>
    <p:sldId id="401" r:id="rId26"/>
    <p:sldId id="408" r:id="rId27"/>
    <p:sldId id="355" r:id="rId28"/>
    <p:sldId id="321" r:id="rId29"/>
    <p:sldId id="320" r:id="rId30"/>
    <p:sldId id="322" r:id="rId31"/>
    <p:sldId id="409" r:id="rId32"/>
    <p:sldId id="356" r:id="rId33"/>
    <p:sldId id="365" r:id="rId34"/>
    <p:sldId id="375" r:id="rId35"/>
    <p:sldId id="326" r:id="rId36"/>
    <p:sldId id="327" r:id="rId37"/>
    <p:sldId id="328" r:id="rId38"/>
    <p:sldId id="329" r:id="rId39"/>
    <p:sldId id="380" r:id="rId40"/>
    <p:sldId id="381" r:id="rId41"/>
    <p:sldId id="382" r:id="rId42"/>
    <p:sldId id="377" r:id="rId43"/>
    <p:sldId id="330" r:id="rId44"/>
    <p:sldId id="331" r:id="rId45"/>
    <p:sldId id="378" r:id="rId46"/>
    <p:sldId id="366" r:id="rId47"/>
    <p:sldId id="379" r:id="rId48"/>
    <p:sldId id="342" r:id="rId49"/>
    <p:sldId id="268" r:id="rId50"/>
    <p:sldId id="269" r:id="rId51"/>
    <p:sldId id="273" r:id="rId52"/>
    <p:sldId id="352" r:id="rId53"/>
    <p:sldId id="274" r:id="rId5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riam Merenda" initials="MM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88"/>
    <a:srgbClr val="0F3870"/>
    <a:srgbClr val="D31245"/>
    <a:srgbClr val="E02CAD"/>
    <a:srgbClr val="EB29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Stile chiaro 3 - Color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34587" autoAdjust="0"/>
    <p:restoredTop sz="99657" autoAdjust="0"/>
  </p:normalViewPr>
  <p:slideViewPr>
    <p:cSldViewPr>
      <p:cViewPr>
        <p:scale>
          <a:sx n="192" d="100"/>
          <a:sy n="192" d="100"/>
        </p:scale>
        <p:origin x="-616" y="-608"/>
      </p:cViewPr>
      <p:guideLst>
        <p:guide orient="horz" pos="4319"/>
        <p:guide pos="5759"/>
      </p:guideLst>
    </p:cSldViewPr>
  </p:slideViewPr>
  <p:outlineViewPr>
    <p:cViewPr>
      <p:scale>
        <a:sx n="33" d="100"/>
        <a:sy n="33" d="100"/>
      </p:scale>
      <p:origin x="0" y="17034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7" d="100"/>
        <a:sy n="137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50" Type="http://schemas.openxmlformats.org/officeDocument/2006/relationships/slide" Target="slides/slide48.xml"/><Relationship Id="rId51" Type="http://schemas.openxmlformats.org/officeDocument/2006/relationships/slide" Target="slides/slide49.xml"/><Relationship Id="rId52" Type="http://schemas.openxmlformats.org/officeDocument/2006/relationships/slide" Target="slides/slide50.xml"/><Relationship Id="rId53" Type="http://schemas.openxmlformats.org/officeDocument/2006/relationships/slide" Target="slides/slide51.xml"/><Relationship Id="rId54" Type="http://schemas.openxmlformats.org/officeDocument/2006/relationships/slide" Target="slides/slide52.xml"/><Relationship Id="rId55" Type="http://schemas.openxmlformats.org/officeDocument/2006/relationships/notesMaster" Target="notesMasters/notesMaster1.xml"/><Relationship Id="rId56" Type="http://schemas.openxmlformats.org/officeDocument/2006/relationships/printerSettings" Target="printerSettings/printerSettings1.bin"/><Relationship Id="rId57" Type="http://schemas.openxmlformats.org/officeDocument/2006/relationships/commentAuthors" Target="commentAuthors.xml"/><Relationship Id="rId58" Type="http://schemas.openxmlformats.org/officeDocument/2006/relationships/presProps" Target="presProps.xml"/><Relationship Id="rId59" Type="http://schemas.openxmlformats.org/officeDocument/2006/relationships/viewProps" Target="viewProps.xml"/><Relationship Id="rId40" Type="http://schemas.openxmlformats.org/officeDocument/2006/relationships/slide" Target="slides/slide38.xml"/><Relationship Id="rId41" Type="http://schemas.openxmlformats.org/officeDocument/2006/relationships/slide" Target="slides/slide39.xml"/><Relationship Id="rId42" Type="http://schemas.openxmlformats.org/officeDocument/2006/relationships/slide" Target="slides/slide40.xml"/><Relationship Id="rId43" Type="http://schemas.openxmlformats.org/officeDocument/2006/relationships/slide" Target="slides/slide41.xml"/><Relationship Id="rId44" Type="http://schemas.openxmlformats.org/officeDocument/2006/relationships/slide" Target="slides/slide42.xml"/><Relationship Id="rId45" Type="http://schemas.openxmlformats.org/officeDocument/2006/relationships/slide" Target="slides/slide43.xml"/><Relationship Id="rId46" Type="http://schemas.openxmlformats.org/officeDocument/2006/relationships/slide" Target="slides/slide44.xml"/><Relationship Id="rId47" Type="http://schemas.openxmlformats.org/officeDocument/2006/relationships/slide" Target="slides/slide45.xml"/><Relationship Id="rId48" Type="http://schemas.openxmlformats.org/officeDocument/2006/relationships/slide" Target="slides/slide46.xml"/><Relationship Id="rId49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30" Type="http://schemas.openxmlformats.org/officeDocument/2006/relationships/slide" Target="slides/slide28.xml"/><Relationship Id="rId31" Type="http://schemas.openxmlformats.org/officeDocument/2006/relationships/slide" Target="slides/slide29.xml"/><Relationship Id="rId32" Type="http://schemas.openxmlformats.org/officeDocument/2006/relationships/slide" Target="slides/slide30.xml"/><Relationship Id="rId33" Type="http://schemas.openxmlformats.org/officeDocument/2006/relationships/slide" Target="slides/slide31.xml"/><Relationship Id="rId34" Type="http://schemas.openxmlformats.org/officeDocument/2006/relationships/slide" Target="slides/slide32.xml"/><Relationship Id="rId35" Type="http://schemas.openxmlformats.org/officeDocument/2006/relationships/slide" Target="slides/slide33.xml"/><Relationship Id="rId36" Type="http://schemas.openxmlformats.org/officeDocument/2006/relationships/slide" Target="slides/slide34.xml"/><Relationship Id="rId37" Type="http://schemas.openxmlformats.org/officeDocument/2006/relationships/slide" Target="slides/slide35.xml"/><Relationship Id="rId38" Type="http://schemas.openxmlformats.org/officeDocument/2006/relationships/slide" Target="slides/slide36.xml"/><Relationship Id="rId39" Type="http://schemas.openxmlformats.org/officeDocument/2006/relationships/slide" Target="slides/slide3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60" Type="http://schemas.openxmlformats.org/officeDocument/2006/relationships/theme" Target="theme/theme1.xml"/><Relationship Id="rId61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22.xml"/><Relationship Id="rId4" Type="http://schemas.openxmlformats.org/officeDocument/2006/relationships/slide" Target="slides/slide23.xml"/><Relationship Id="rId5" Type="http://schemas.openxmlformats.org/officeDocument/2006/relationships/slide" Target="slides/slide24.xml"/><Relationship Id="rId1" Type="http://schemas.openxmlformats.org/officeDocument/2006/relationships/slide" Target="slides/slide19.xml"/><Relationship Id="rId2" Type="http://schemas.openxmlformats.org/officeDocument/2006/relationships/slide" Target="slides/slide2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FAFA53-44AE-415E-85F7-7BE518F17AEA}" type="doc">
      <dgm:prSet loTypeId="urn:microsoft.com/office/officeart/2005/8/layout/hierarchy4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it-IT"/>
        </a:p>
      </dgm:t>
    </dgm:pt>
    <dgm:pt modelId="{61B5FDCE-C70F-4005-BB3E-5CEDF2C43B2C}">
      <dgm:prSet phldrT="[Testo]" custT="1"/>
      <dgm:spPr>
        <a:solidFill>
          <a:srgbClr val="005288"/>
        </a:solidFill>
      </dgm:spPr>
      <dgm:t>
        <a:bodyPr/>
        <a:lstStyle/>
        <a:p>
          <a:r>
            <a:rPr lang="it-IT" sz="2800" b="1" dirty="0" smtClean="0">
              <a:latin typeface="Arial" pitchFamily="34" charset="0"/>
              <a:cs typeface="Arial" pitchFamily="34" charset="0"/>
            </a:rPr>
            <a:t>TEST MANAGEMENT</a:t>
          </a:r>
          <a:endParaRPr lang="it-IT" sz="2800" b="1" dirty="0">
            <a:latin typeface="Arial" pitchFamily="34" charset="0"/>
            <a:cs typeface="Arial" pitchFamily="34" charset="0"/>
          </a:endParaRPr>
        </a:p>
      </dgm:t>
    </dgm:pt>
    <dgm:pt modelId="{F7D0AB15-3717-4385-B66C-1300D07591AD}" type="parTrans" cxnId="{21FDFBF7-46A9-41EF-8BD4-C2E5F7DBC85B}">
      <dgm:prSet/>
      <dgm:spPr/>
      <dgm:t>
        <a:bodyPr/>
        <a:lstStyle/>
        <a:p>
          <a:endParaRPr lang="it-IT" sz="1400"/>
        </a:p>
      </dgm:t>
    </dgm:pt>
    <dgm:pt modelId="{27613F56-00E4-41DF-ACEB-22BC58D63F63}" type="sibTrans" cxnId="{21FDFBF7-46A9-41EF-8BD4-C2E5F7DBC85B}">
      <dgm:prSet/>
      <dgm:spPr/>
      <dgm:t>
        <a:bodyPr/>
        <a:lstStyle/>
        <a:p>
          <a:endParaRPr lang="it-IT" sz="1400"/>
        </a:p>
      </dgm:t>
    </dgm:pt>
    <dgm:pt modelId="{07CDC130-EB7F-4BB2-8AD8-F0467075F90F}">
      <dgm:prSet phldrT="[Testo]" custT="1"/>
      <dgm:spPr>
        <a:solidFill>
          <a:srgbClr val="D31245"/>
        </a:solidFill>
      </dgm:spPr>
      <dgm:t>
        <a:bodyPr/>
        <a:lstStyle/>
        <a:p>
          <a:r>
            <a:rPr lang="it-IT" sz="1800" b="1" dirty="0" smtClean="0">
              <a:latin typeface="Arial" pitchFamily="34" charset="0"/>
              <a:cs typeface="Arial" pitchFamily="34" charset="0"/>
            </a:rPr>
            <a:t>STRATEGIC TEST MANAGEMENT</a:t>
          </a:r>
          <a:endParaRPr lang="it-IT" sz="1800" b="1" dirty="0">
            <a:latin typeface="Arial" pitchFamily="34" charset="0"/>
            <a:cs typeface="Arial" pitchFamily="34" charset="0"/>
          </a:endParaRPr>
        </a:p>
      </dgm:t>
    </dgm:pt>
    <dgm:pt modelId="{37B101A0-68C1-41A3-80A0-6F81C32DA96A}" type="parTrans" cxnId="{0165B387-169D-47CA-A8F2-B4BF2922C782}">
      <dgm:prSet/>
      <dgm:spPr/>
      <dgm:t>
        <a:bodyPr/>
        <a:lstStyle/>
        <a:p>
          <a:endParaRPr lang="it-IT" sz="1400"/>
        </a:p>
      </dgm:t>
    </dgm:pt>
    <dgm:pt modelId="{B7B5A603-B134-4A4A-9CB8-5FAAFCADB8BB}" type="sibTrans" cxnId="{0165B387-169D-47CA-A8F2-B4BF2922C782}">
      <dgm:prSet/>
      <dgm:spPr/>
      <dgm:t>
        <a:bodyPr/>
        <a:lstStyle/>
        <a:p>
          <a:endParaRPr lang="it-IT" sz="1400"/>
        </a:p>
      </dgm:t>
    </dgm:pt>
    <dgm:pt modelId="{5EFEFFFB-A37A-4CB2-82A2-355BA5A09E8B}">
      <dgm:prSet phldrT="[Testo]" custT="1"/>
      <dgm:spPr>
        <a:solidFill>
          <a:srgbClr val="D31245"/>
        </a:solidFill>
      </dgm:spPr>
      <dgm:t>
        <a:bodyPr/>
        <a:lstStyle/>
        <a:p>
          <a:r>
            <a:rPr lang="en-US" sz="1800" b="1" smtClean="0">
              <a:latin typeface="Arial" pitchFamily="34" charset="0"/>
              <a:cs typeface="Arial" pitchFamily="34" charset="0"/>
            </a:rPr>
            <a:t>MANAGING THE TEST TEAM</a:t>
          </a:r>
          <a:endParaRPr lang="it-IT" sz="1800" b="1" dirty="0">
            <a:latin typeface="Arial" pitchFamily="34" charset="0"/>
            <a:cs typeface="Arial" pitchFamily="34" charset="0"/>
          </a:endParaRPr>
        </a:p>
      </dgm:t>
    </dgm:pt>
    <dgm:pt modelId="{99BB5F1D-93C0-49F5-8835-ABBECEE43625}" type="parTrans" cxnId="{72524DE1-CBE7-4C5B-AAAF-3D3F39915106}">
      <dgm:prSet/>
      <dgm:spPr/>
      <dgm:t>
        <a:bodyPr/>
        <a:lstStyle/>
        <a:p>
          <a:endParaRPr lang="it-IT" sz="1400"/>
        </a:p>
      </dgm:t>
    </dgm:pt>
    <dgm:pt modelId="{049240EB-935F-480A-B0E4-E90D275ED8BC}" type="sibTrans" cxnId="{72524DE1-CBE7-4C5B-AAAF-3D3F39915106}">
      <dgm:prSet/>
      <dgm:spPr/>
      <dgm:t>
        <a:bodyPr/>
        <a:lstStyle/>
        <a:p>
          <a:endParaRPr lang="it-IT" sz="1400"/>
        </a:p>
      </dgm:t>
    </dgm:pt>
    <dgm:pt modelId="{77849D13-FE31-47FD-93FD-B1DA442A507E}">
      <dgm:prSet phldrT="[Testo]" custT="1"/>
      <dgm:spPr>
        <a:solidFill>
          <a:srgbClr val="D31245"/>
        </a:solidFill>
      </dgm:spPr>
      <dgm:t>
        <a:bodyPr/>
        <a:lstStyle/>
        <a:p>
          <a:r>
            <a:rPr lang="it-IT" sz="1800" b="1" smtClean="0">
              <a:latin typeface="Arial" pitchFamily="34" charset="0"/>
              <a:cs typeface="Arial" pitchFamily="34" charset="0"/>
            </a:rPr>
            <a:t>OPERATIONAL TEST MANAGEMENT</a:t>
          </a:r>
          <a:endParaRPr lang="it-IT" sz="1800" b="1" dirty="0">
            <a:latin typeface="Arial" pitchFamily="34" charset="0"/>
            <a:cs typeface="Arial" pitchFamily="34" charset="0"/>
          </a:endParaRPr>
        </a:p>
      </dgm:t>
    </dgm:pt>
    <dgm:pt modelId="{CC321F22-9245-4F20-97BE-AE0C950FAA91}" type="parTrans" cxnId="{6AE5D383-8DF9-47AA-BC06-255550EBE2E3}">
      <dgm:prSet/>
      <dgm:spPr/>
      <dgm:t>
        <a:bodyPr/>
        <a:lstStyle/>
        <a:p>
          <a:endParaRPr lang="it-IT" sz="1400"/>
        </a:p>
      </dgm:t>
    </dgm:pt>
    <dgm:pt modelId="{85352172-DAAD-4300-BB4C-A0C38C26F480}" type="sibTrans" cxnId="{6AE5D383-8DF9-47AA-BC06-255550EBE2E3}">
      <dgm:prSet/>
      <dgm:spPr/>
      <dgm:t>
        <a:bodyPr/>
        <a:lstStyle/>
        <a:p>
          <a:endParaRPr lang="it-IT" sz="1400"/>
        </a:p>
      </dgm:t>
    </dgm:pt>
    <dgm:pt modelId="{30F372F6-6D27-4170-BB52-E4397185A994}" type="pres">
      <dgm:prSet presAssocID="{AEFAFA53-44AE-415E-85F7-7BE518F17AE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6103D346-2EAA-44EC-BC3F-B39A9A6D4D7E}" type="pres">
      <dgm:prSet presAssocID="{61B5FDCE-C70F-4005-BB3E-5CEDF2C43B2C}" presName="vertOne" presStyleCnt="0"/>
      <dgm:spPr/>
      <dgm:t>
        <a:bodyPr/>
        <a:lstStyle/>
        <a:p>
          <a:endParaRPr lang="en-US"/>
        </a:p>
      </dgm:t>
    </dgm:pt>
    <dgm:pt modelId="{476A710E-1C9F-4376-BA54-4DC92B08F2FA}" type="pres">
      <dgm:prSet presAssocID="{61B5FDCE-C70F-4005-BB3E-5CEDF2C43B2C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1ABA0F1C-A5E0-4913-9D71-5FCBB68581CE}" type="pres">
      <dgm:prSet presAssocID="{61B5FDCE-C70F-4005-BB3E-5CEDF2C43B2C}" presName="parTransOne" presStyleCnt="0"/>
      <dgm:spPr/>
      <dgm:t>
        <a:bodyPr/>
        <a:lstStyle/>
        <a:p>
          <a:endParaRPr lang="en-US"/>
        </a:p>
      </dgm:t>
    </dgm:pt>
    <dgm:pt modelId="{5C3B042E-1459-487C-A9EF-FFEDF9C4A4C6}" type="pres">
      <dgm:prSet presAssocID="{61B5FDCE-C70F-4005-BB3E-5CEDF2C43B2C}" presName="horzOne" presStyleCnt="0"/>
      <dgm:spPr/>
      <dgm:t>
        <a:bodyPr/>
        <a:lstStyle/>
        <a:p>
          <a:endParaRPr lang="en-US"/>
        </a:p>
      </dgm:t>
    </dgm:pt>
    <dgm:pt modelId="{3B2DB098-04DA-49EB-B4B4-4A2DC0E2A6C6}" type="pres">
      <dgm:prSet presAssocID="{07CDC130-EB7F-4BB2-8AD8-F0467075F90F}" presName="vertTwo" presStyleCnt="0"/>
      <dgm:spPr/>
      <dgm:t>
        <a:bodyPr/>
        <a:lstStyle/>
        <a:p>
          <a:endParaRPr lang="en-US"/>
        </a:p>
      </dgm:t>
    </dgm:pt>
    <dgm:pt modelId="{2F18984F-3785-4363-A3FE-32C6B3248DB5}" type="pres">
      <dgm:prSet presAssocID="{07CDC130-EB7F-4BB2-8AD8-F0467075F90F}" presName="txTwo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9DB9C8A2-2558-465E-8BBB-D5BF04B98640}" type="pres">
      <dgm:prSet presAssocID="{07CDC130-EB7F-4BB2-8AD8-F0467075F90F}" presName="horzTwo" presStyleCnt="0"/>
      <dgm:spPr/>
      <dgm:t>
        <a:bodyPr/>
        <a:lstStyle/>
        <a:p>
          <a:endParaRPr lang="en-US"/>
        </a:p>
      </dgm:t>
    </dgm:pt>
    <dgm:pt modelId="{84EE943B-DEB9-4E8B-9F2C-A46A98333D12}" type="pres">
      <dgm:prSet presAssocID="{B7B5A603-B134-4A4A-9CB8-5FAAFCADB8BB}" presName="sibSpaceTwo" presStyleCnt="0"/>
      <dgm:spPr/>
      <dgm:t>
        <a:bodyPr/>
        <a:lstStyle/>
        <a:p>
          <a:endParaRPr lang="en-US"/>
        </a:p>
      </dgm:t>
    </dgm:pt>
    <dgm:pt modelId="{4389602A-7123-4F88-8F8E-2F4D94E67FCC}" type="pres">
      <dgm:prSet presAssocID="{77849D13-FE31-47FD-93FD-B1DA442A507E}" presName="vertTwo" presStyleCnt="0"/>
      <dgm:spPr/>
      <dgm:t>
        <a:bodyPr/>
        <a:lstStyle/>
        <a:p>
          <a:endParaRPr lang="en-US"/>
        </a:p>
      </dgm:t>
    </dgm:pt>
    <dgm:pt modelId="{386D911D-E105-4754-B204-824C8FAF2BBA}" type="pres">
      <dgm:prSet presAssocID="{77849D13-FE31-47FD-93FD-B1DA442A507E}" presName="txTwo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2FC25329-7635-4771-901E-58511F8AEFDC}" type="pres">
      <dgm:prSet presAssocID="{77849D13-FE31-47FD-93FD-B1DA442A507E}" presName="horzTwo" presStyleCnt="0"/>
      <dgm:spPr/>
      <dgm:t>
        <a:bodyPr/>
        <a:lstStyle/>
        <a:p>
          <a:endParaRPr lang="en-US"/>
        </a:p>
      </dgm:t>
    </dgm:pt>
    <dgm:pt modelId="{75B3ACBB-D65F-4959-AA82-2008C02BB77B}" type="pres">
      <dgm:prSet presAssocID="{85352172-DAAD-4300-BB4C-A0C38C26F480}" presName="sibSpaceTwo" presStyleCnt="0"/>
      <dgm:spPr/>
      <dgm:t>
        <a:bodyPr/>
        <a:lstStyle/>
        <a:p>
          <a:endParaRPr lang="en-US"/>
        </a:p>
      </dgm:t>
    </dgm:pt>
    <dgm:pt modelId="{74E080F5-26AF-414D-9313-CD4E02C2ED07}" type="pres">
      <dgm:prSet presAssocID="{5EFEFFFB-A37A-4CB2-82A2-355BA5A09E8B}" presName="vertTwo" presStyleCnt="0"/>
      <dgm:spPr/>
      <dgm:t>
        <a:bodyPr/>
        <a:lstStyle/>
        <a:p>
          <a:endParaRPr lang="en-US"/>
        </a:p>
      </dgm:t>
    </dgm:pt>
    <dgm:pt modelId="{84235D2A-6EDE-4537-B482-7918B4268DB2}" type="pres">
      <dgm:prSet presAssocID="{5EFEFFFB-A37A-4CB2-82A2-355BA5A09E8B}" presName="txTwo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0C26814F-6881-4CBD-A7E4-617107FE9FA7}" type="pres">
      <dgm:prSet presAssocID="{5EFEFFFB-A37A-4CB2-82A2-355BA5A09E8B}" presName="horzTwo" presStyleCnt="0"/>
      <dgm:spPr/>
      <dgm:t>
        <a:bodyPr/>
        <a:lstStyle/>
        <a:p>
          <a:endParaRPr lang="en-US"/>
        </a:p>
      </dgm:t>
    </dgm:pt>
  </dgm:ptLst>
  <dgm:cxnLst>
    <dgm:cxn modelId="{0165B387-169D-47CA-A8F2-B4BF2922C782}" srcId="{61B5FDCE-C70F-4005-BB3E-5CEDF2C43B2C}" destId="{07CDC130-EB7F-4BB2-8AD8-F0467075F90F}" srcOrd="0" destOrd="0" parTransId="{37B101A0-68C1-41A3-80A0-6F81C32DA96A}" sibTransId="{B7B5A603-B134-4A4A-9CB8-5FAAFCADB8BB}"/>
    <dgm:cxn modelId="{72524DE1-CBE7-4C5B-AAAF-3D3F39915106}" srcId="{61B5FDCE-C70F-4005-BB3E-5CEDF2C43B2C}" destId="{5EFEFFFB-A37A-4CB2-82A2-355BA5A09E8B}" srcOrd="2" destOrd="0" parTransId="{99BB5F1D-93C0-49F5-8835-ABBECEE43625}" sibTransId="{049240EB-935F-480A-B0E4-E90D275ED8BC}"/>
    <dgm:cxn modelId="{04D85752-D338-4BA1-A6D2-A948B072FFA3}" type="presOf" srcId="{AEFAFA53-44AE-415E-85F7-7BE518F17AEA}" destId="{30F372F6-6D27-4170-BB52-E4397185A994}" srcOrd="0" destOrd="0" presId="urn:microsoft.com/office/officeart/2005/8/layout/hierarchy4"/>
    <dgm:cxn modelId="{784EB77F-D0C8-4625-A901-DE130DAB8CD3}" type="presOf" srcId="{5EFEFFFB-A37A-4CB2-82A2-355BA5A09E8B}" destId="{84235D2A-6EDE-4537-B482-7918B4268DB2}" srcOrd="0" destOrd="0" presId="urn:microsoft.com/office/officeart/2005/8/layout/hierarchy4"/>
    <dgm:cxn modelId="{21FDFBF7-46A9-41EF-8BD4-C2E5F7DBC85B}" srcId="{AEFAFA53-44AE-415E-85F7-7BE518F17AEA}" destId="{61B5FDCE-C70F-4005-BB3E-5CEDF2C43B2C}" srcOrd="0" destOrd="0" parTransId="{F7D0AB15-3717-4385-B66C-1300D07591AD}" sibTransId="{27613F56-00E4-41DF-ACEB-22BC58D63F63}"/>
    <dgm:cxn modelId="{AB0E6A83-D2CF-418D-ACB4-64DEDE975CF1}" type="presOf" srcId="{07CDC130-EB7F-4BB2-8AD8-F0467075F90F}" destId="{2F18984F-3785-4363-A3FE-32C6B3248DB5}" srcOrd="0" destOrd="0" presId="urn:microsoft.com/office/officeart/2005/8/layout/hierarchy4"/>
    <dgm:cxn modelId="{ED8FD667-6B09-4219-8803-AE24D41D7FB2}" type="presOf" srcId="{77849D13-FE31-47FD-93FD-B1DA442A507E}" destId="{386D911D-E105-4754-B204-824C8FAF2BBA}" srcOrd="0" destOrd="0" presId="urn:microsoft.com/office/officeart/2005/8/layout/hierarchy4"/>
    <dgm:cxn modelId="{1568478D-2A81-4447-8D63-EDE87A8A6E57}" type="presOf" srcId="{61B5FDCE-C70F-4005-BB3E-5CEDF2C43B2C}" destId="{476A710E-1C9F-4376-BA54-4DC92B08F2FA}" srcOrd="0" destOrd="0" presId="urn:microsoft.com/office/officeart/2005/8/layout/hierarchy4"/>
    <dgm:cxn modelId="{6AE5D383-8DF9-47AA-BC06-255550EBE2E3}" srcId="{61B5FDCE-C70F-4005-BB3E-5CEDF2C43B2C}" destId="{77849D13-FE31-47FD-93FD-B1DA442A507E}" srcOrd="1" destOrd="0" parTransId="{CC321F22-9245-4F20-97BE-AE0C950FAA91}" sibTransId="{85352172-DAAD-4300-BB4C-A0C38C26F480}"/>
    <dgm:cxn modelId="{ED44771D-727C-49F2-9C9C-29A63FF7B52D}" type="presParOf" srcId="{30F372F6-6D27-4170-BB52-E4397185A994}" destId="{6103D346-2EAA-44EC-BC3F-B39A9A6D4D7E}" srcOrd="0" destOrd="0" presId="urn:microsoft.com/office/officeart/2005/8/layout/hierarchy4"/>
    <dgm:cxn modelId="{3BCA188B-F78F-428B-B49D-EB48DD926249}" type="presParOf" srcId="{6103D346-2EAA-44EC-BC3F-B39A9A6D4D7E}" destId="{476A710E-1C9F-4376-BA54-4DC92B08F2FA}" srcOrd="0" destOrd="0" presId="urn:microsoft.com/office/officeart/2005/8/layout/hierarchy4"/>
    <dgm:cxn modelId="{A8CED111-CA52-457E-A034-3B9769F5B56E}" type="presParOf" srcId="{6103D346-2EAA-44EC-BC3F-B39A9A6D4D7E}" destId="{1ABA0F1C-A5E0-4913-9D71-5FCBB68581CE}" srcOrd="1" destOrd="0" presId="urn:microsoft.com/office/officeart/2005/8/layout/hierarchy4"/>
    <dgm:cxn modelId="{F6EC71B6-4C44-44CD-AC82-033D77B2A460}" type="presParOf" srcId="{6103D346-2EAA-44EC-BC3F-B39A9A6D4D7E}" destId="{5C3B042E-1459-487C-A9EF-FFEDF9C4A4C6}" srcOrd="2" destOrd="0" presId="urn:microsoft.com/office/officeart/2005/8/layout/hierarchy4"/>
    <dgm:cxn modelId="{26C00D0F-1208-4540-AC9A-ED7AAE813FAA}" type="presParOf" srcId="{5C3B042E-1459-487C-A9EF-FFEDF9C4A4C6}" destId="{3B2DB098-04DA-49EB-B4B4-4A2DC0E2A6C6}" srcOrd="0" destOrd="0" presId="urn:microsoft.com/office/officeart/2005/8/layout/hierarchy4"/>
    <dgm:cxn modelId="{9B56AAAB-9C13-43E2-B082-D2D333A4194F}" type="presParOf" srcId="{3B2DB098-04DA-49EB-B4B4-4A2DC0E2A6C6}" destId="{2F18984F-3785-4363-A3FE-32C6B3248DB5}" srcOrd="0" destOrd="0" presId="urn:microsoft.com/office/officeart/2005/8/layout/hierarchy4"/>
    <dgm:cxn modelId="{3B5C391A-251B-4ECA-BBB8-4AF39C7288D2}" type="presParOf" srcId="{3B2DB098-04DA-49EB-B4B4-4A2DC0E2A6C6}" destId="{9DB9C8A2-2558-465E-8BBB-D5BF04B98640}" srcOrd="1" destOrd="0" presId="urn:microsoft.com/office/officeart/2005/8/layout/hierarchy4"/>
    <dgm:cxn modelId="{6374EB35-C1A8-44BB-8279-141025BBC6D6}" type="presParOf" srcId="{5C3B042E-1459-487C-A9EF-FFEDF9C4A4C6}" destId="{84EE943B-DEB9-4E8B-9F2C-A46A98333D12}" srcOrd="1" destOrd="0" presId="urn:microsoft.com/office/officeart/2005/8/layout/hierarchy4"/>
    <dgm:cxn modelId="{298B8FB1-6427-425A-BE9B-5450D7984BC0}" type="presParOf" srcId="{5C3B042E-1459-487C-A9EF-FFEDF9C4A4C6}" destId="{4389602A-7123-4F88-8F8E-2F4D94E67FCC}" srcOrd="2" destOrd="0" presId="urn:microsoft.com/office/officeart/2005/8/layout/hierarchy4"/>
    <dgm:cxn modelId="{5077B307-3274-4F5B-927B-53A45D0F05EE}" type="presParOf" srcId="{4389602A-7123-4F88-8F8E-2F4D94E67FCC}" destId="{386D911D-E105-4754-B204-824C8FAF2BBA}" srcOrd="0" destOrd="0" presId="urn:microsoft.com/office/officeart/2005/8/layout/hierarchy4"/>
    <dgm:cxn modelId="{50FDE1BD-1955-4DEA-B8AD-E6E767C63C1C}" type="presParOf" srcId="{4389602A-7123-4F88-8F8E-2F4D94E67FCC}" destId="{2FC25329-7635-4771-901E-58511F8AEFDC}" srcOrd="1" destOrd="0" presId="urn:microsoft.com/office/officeart/2005/8/layout/hierarchy4"/>
    <dgm:cxn modelId="{B4326E78-5DF4-48A0-B879-2BB7166A9639}" type="presParOf" srcId="{5C3B042E-1459-487C-A9EF-FFEDF9C4A4C6}" destId="{75B3ACBB-D65F-4959-AA82-2008C02BB77B}" srcOrd="3" destOrd="0" presId="urn:microsoft.com/office/officeart/2005/8/layout/hierarchy4"/>
    <dgm:cxn modelId="{FF9C830F-DC11-4CF3-BCF7-DB96574F4331}" type="presParOf" srcId="{5C3B042E-1459-487C-A9EF-FFEDF9C4A4C6}" destId="{74E080F5-26AF-414D-9313-CD4E02C2ED07}" srcOrd="4" destOrd="0" presId="urn:microsoft.com/office/officeart/2005/8/layout/hierarchy4"/>
    <dgm:cxn modelId="{9FA4CE3D-57F8-4294-835F-58FD80BB3B07}" type="presParOf" srcId="{74E080F5-26AF-414D-9313-CD4E02C2ED07}" destId="{84235D2A-6EDE-4537-B482-7918B4268DB2}" srcOrd="0" destOrd="0" presId="urn:microsoft.com/office/officeart/2005/8/layout/hierarchy4"/>
    <dgm:cxn modelId="{CC67460F-F727-48D9-A7F5-2841D071E978}" type="presParOf" srcId="{74E080F5-26AF-414D-9313-CD4E02C2ED07}" destId="{0C26814F-6881-4CBD-A7E4-617107FE9FA7}" srcOrd="1" destOrd="0" presId="urn:microsoft.com/office/officeart/2005/8/layout/hierarchy4"/>
  </dgm:cxnLst>
  <dgm:bg>
    <a:solidFill>
      <a:schemeClr val="bg1">
        <a:lumMod val="75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FAFA53-44AE-415E-85F7-7BE518F17AEA}" type="doc">
      <dgm:prSet loTypeId="urn:microsoft.com/office/officeart/2005/8/layout/hierarchy4" loCatId="list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it-IT"/>
        </a:p>
      </dgm:t>
    </dgm:pt>
    <dgm:pt modelId="{61B5FDCE-C70F-4005-BB3E-5CEDF2C43B2C}">
      <dgm:prSet phldrT="[Testo]" custT="1"/>
      <dgm:spPr>
        <a:solidFill>
          <a:srgbClr val="005288"/>
        </a:solidFill>
      </dgm:spPr>
      <dgm:t>
        <a:bodyPr/>
        <a:lstStyle/>
        <a:p>
          <a:r>
            <a:rPr lang="it-IT" sz="2800" b="1" dirty="0" smtClean="0">
              <a:latin typeface="Arial" pitchFamily="34" charset="0"/>
              <a:cs typeface="Arial" pitchFamily="34" charset="0"/>
            </a:rPr>
            <a:t>IMPROVING THE TESTING PROCESS</a:t>
          </a:r>
          <a:endParaRPr lang="it-IT" sz="2800" b="1" dirty="0">
            <a:latin typeface="Arial" pitchFamily="34" charset="0"/>
            <a:cs typeface="Arial" pitchFamily="34" charset="0"/>
          </a:endParaRPr>
        </a:p>
      </dgm:t>
    </dgm:pt>
    <dgm:pt modelId="{F7D0AB15-3717-4385-B66C-1300D07591AD}" type="parTrans" cxnId="{21FDFBF7-46A9-41EF-8BD4-C2E5F7DBC85B}">
      <dgm:prSet/>
      <dgm:spPr/>
      <dgm:t>
        <a:bodyPr/>
        <a:lstStyle/>
        <a:p>
          <a:endParaRPr lang="it-IT" sz="1400"/>
        </a:p>
      </dgm:t>
    </dgm:pt>
    <dgm:pt modelId="{27613F56-00E4-41DF-ACEB-22BC58D63F63}" type="sibTrans" cxnId="{21FDFBF7-46A9-41EF-8BD4-C2E5F7DBC85B}">
      <dgm:prSet/>
      <dgm:spPr/>
      <dgm:t>
        <a:bodyPr/>
        <a:lstStyle/>
        <a:p>
          <a:endParaRPr lang="it-IT" sz="1400"/>
        </a:p>
      </dgm:t>
    </dgm:pt>
    <dgm:pt modelId="{07CDC130-EB7F-4BB2-8AD8-F0467075F90F}">
      <dgm:prSet phldrT="[Testo]" custT="1"/>
      <dgm:spPr>
        <a:solidFill>
          <a:srgbClr val="D31245"/>
        </a:solidFill>
      </dgm:spPr>
      <dgm:t>
        <a:bodyPr/>
        <a:lstStyle/>
        <a:p>
          <a:r>
            <a:rPr lang="it-IT" sz="1800" b="1" dirty="0" smtClean="0">
              <a:latin typeface="Arial" pitchFamily="34" charset="0"/>
              <a:cs typeface="Arial" pitchFamily="34" charset="0"/>
            </a:rPr>
            <a:t>ASSESSING TEST PROCESSES</a:t>
          </a:r>
          <a:endParaRPr lang="it-IT" sz="1800" b="1" dirty="0">
            <a:solidFill>
              <a:srgbClr val="FFFF00"/>
            </a:solidFill>
            <a:latin typeface="Arial" pitchFamily="34" charset="0"/>
            <a:cs typeface="Arial" pitchFamily="34" charset="0"/>
          </a:endParaRPr>
        </a:p>
      </dgm:t>
    </dgm:pt>
    <dgm:pt modelId="{37B101A0-68C1-41A3-80A0-6F81C32DA96A}" type="parTrans" cxnId="{0165B387-169D-47CA-A8F2-B4BF2922C782}">
      <dgm:prSet/>
      <dgm:spPr/>
      <dgm:t>
        <a:bodyPr/>
        <a:lstStyle/>
        <a:p>
          <a:endParaRPr lang="it-IT" sz="1400"/>
        </a:p>
      </dgm:t>
    </dgm:pt>
    <dgm:pt modelId="{B7B5A603-B134-4A4A-9CB8-5FAAFCADB8BB}" type="sibTrans" cxnId="{0165B387-169D-47CA-A8F2-B4BF2922C782}">
      <dgm:prSet/>
      <dgm:spPr/>
      <dgm:t>
        <a:bodyPr/>
        <a:lstStyle/>
        <a:p>
          <a:endParaRPr lang="it-IT" sz="1400"/>
        </a:p>
      </dgm:t>
    </dgm:pt>
    <dgm:pt modelId="{5EFEFFFB-A37A-4CB2-82A2-355BA5A09E8B}">
      <dgm:prSet phldrT="[Testo]" custT="1"/>
      <dgm:spPr>
        <a:solidFill>
          <a:srgbClr val="D31245"/>
        </a:solidFill>
      </dgm:spPr>
      <dgm:t>
        <a:bodyPr/>
        <a:lstStyle/>
        <a:p>
          <a:r>
            <a:rPr lang="en-US" sz="1800" b="1" dirty="0" smtClean="0">
              <a:latin typeface="Arial" pitchFamily="34" charset="0"/>
              <a:cs typeface="Arial" pitchFamily="34" charset="0"/>
            </a:rPr>
            <a:t>IMPLEMENTING TEST PROCESS IMPROVEMENT</a:t>
          </a:r>
          <a:endParaRPr lang="it-IT" sz="1800" b="1" dirty="0">
            <a:latin typeface="Arial" pitchFamily="34" charset="0"/>
            <a:cs typeface="Arial" pitchFamily="34" charset="0"/>
          </a:endParaRPr>
        </a:p>
      </dgm:t>
    </dgm:pt>
    <dgm:pt modelId="{99BB5F1D-93C0-49F5-8835-ABBECEE43625}" type="parTrans" cxnId="{72524DE1-CBE7-4C5B-AAAF-3D3F39915106}">
      <dgm:prSet/>
      <dgm:spPr/>
      <dgm:t>
        <a:bodyPr/>
        <a:lstStyle/>
        <a:p>
          <a:endParaRPr lang="it-IT" sz="1400"/>
        </a:p>
      </dgm:t>
    </dgm:pt>
    <dgm:pt modelId="{049240EB-935F-480A-B0E4-E90D275ED8BC}" type="sibTrans" cxnId="{72524DE1-CBE7-4C5B-AAAF-3D3F39915106}">
      <dgm:prSet/>
      <dgm:spPr/>
      <dgm:t>
        <a:bodyPr/>
        <a:lstStyle/>
        <a:p>
          <a:endParaRPr lang="it-IT" sz="1400"/>
        </a:p>
      </dgm:t>
    </dgm:pt>
    <dgm:pt modelId="{3307A070-D5CD-4011-B0B1-B732DC3A3B53}" type="pres">
      <dgm:prSet presAssocID="{AEFAFA53-44AE-415E-85F7-7BE518F17AE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C4966F7F-24B5-4EB5-9556-E812F9356850}" type="pres">
      <dgm:prSet presAssocID="{61B5FDCE-C70F-4005-BB3E-5CEDF2C43B2C}" presName="vertOne" presStyleCnt="0"/>
      <dgm:spPr/>
      <dgm:t>
        <a:bodyPr/>
        <a:lstStyle/>
        <a:p>
          <a:endParaRPr lang="en-US"/>
        </a:p>
      </dgm:t>
    </dgm:pt>
    <dgm:pt modelId="{6D2141CD-FCCA-4A4B-95DB-F4F7215124D8}" type="pres">
      <dgm:prSet presAssocID="{61B5FDCE-C70F-4005-BB3E-5CEDF2C43B2C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1BD74E58-66F5-4436-A972-054DD03131FE}" type="pres">
      <dgm:prSet presAssocID="{61B5FDCE-C70F-4005-BB3E-5CEDF2C43B2C}" presName="parTransOne" presStyleCnt="0"/>
      <dgm:spPr/>
      <dgm:t>
        <a:bodyPr/>
        <a:lstStyle/>
        <a:p>
          <a:endParaRPr lang="en-US"/>
        </a:p>
      </dgm:t>
    </dgm:pt>
    <dgm:pt modelId="{B7C5BDF3-829E-43D6-88D0-8A5D58B669B0}" type="pres">
      <dgm:prSet presAssocID="{61B5FDCE-C70F-4005-BB3E-5CEDF2C43B2C}" presName="horzOne" presStyleCnt="0"/>
      <dgm:spPr/>
      <dgm:t>
        <a:bodyPr/>
        <a:lstStyle/>
        <a:p>
          <a:endParaRPr lang="en-US"/>
        </a:p>
      </dgm:t>
    </dgm:pt>
    <dgm:pt modelId="{11E9E75D-19F7-489C-A192-435B2EB63851}" type="pres">
      <dgm:prSet presAssocID="{07CDC130-EB7F-4BB2-8AD8-F0467075F90F}" presName="vertTwo" presStyleCnt="0"/>
      <dgm:spPr/>
      <dgm:t>
        <a:bodyPr/>
        <a:lstStyle/>
        <a:p>
          <a:endParaRPr lang="en-US"/>
        </a:p>
      </dgm:t>
    </dgm:pt>
    <dgm:pt modelId="{8ABF4DDB-0649-4AF3-B37B-0A70DD68A3DA}" type="pres">
      <dgm:prSet presAssocID="{07CDC130-EB7F-4BB2-8AD8-F0467075F90F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A07443A0-37E7-401A-A885-C99454586E34}" type="pres">
      <dgm:prSet presAssocID="{07CDC130-EB7F-4BB2-8AD8-F0467075F90F}" presName="horzTwo" presStyleCnt="0"/>
      <dgm:spPr/>
      <dgm:t>
        <a:bodyPr/>
        <a:lstStyle/>
        <a:p>
          <a:endParaRPr lang="en-US"/>
        </a:p>
      </dgm:t>
    </dgm:pt>
    <dgm:pt modelId="{2087679C-7091-4C38-9974-FC514227D055}" type="pres">
      <dgm:prSet presAssocID="{B7B5A603-B134-4A4A-9CB8-5FAAFCADB8BB}" presName="sibSpaceTwo" presStyleCnt="0"/>
      <dgm:spPr/>
      <dgm:t>
        <a:bodyPr/>
        <a:lstStyle/>
        <a:p>
          <a:endParaRPr lang="en-US"/>
        </a:p>
      </dgm:t>
    </dgm:pt>
    <dgm:pt modelId="{56B21533-848F-4599-ABA6-3A875EC37440}" type="pres">
      <dgm:prSet presAssocID="{5EFEFFFB-A37A-4CB2-82A2-355BA5A09E8B}" presName="vertTwo" presStyleCnt="0"/>
      <dgm:spPr/>
      <dgm:t>
        <a:bodyPr/>
        <a:lstStyle/>
        <a:p>
          <a:endParaRPr lang="en-US"/>
        </a:p>
      </dgm:t>
    </dgm:pt>
    <dgm:pt modelId="{8169D59A-CA77-43E5-9140-C67B918632E1}" type="pres">
      <dgm:prSet presAssocID="{5EFEFFFB-A37A-4CB2-82A2-355BA5A09E8B}" presName="txTwo" presStyleLbl="node2" presStyleIdx="1" presStyleCnt="2" custLinFactNeighborY="6531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5129AE05-9E21-41A9-BEEB-77C7F8E104CC}" type="pres">
      <dgm:prSet presAssocID="{5EFEFFFB-A37A-4CB2-82A2-355BA5A09E8B}" presName="horzTwo" presStyleCnt="0"/>
      <dgm:spPr/>
      <dgm:t>
        <a:bodyPr/>
        <a:lstStyle/>
        <a:p>
          <a:endParaRPr lang="en-US"/>
        </a:p>
      </dgm:t>
    </dgm:pt>
  </dgm:ptLst>
  <dgm:cxnLst>
    <dgm:cxn modelId="{DA344F12-9BAE-480B-897A-E4C68D1A4FE7}" type="presOf" srcId="{AEFAFA53-44AE-415E-85F7-7BE518F17AEA}" destId="{3307A070-D5CD-4011-B0B1-B732DC3A3B53}" srcOrd="0" destOrd="0" presId="urn:microsoft.com/office/officeart/2005/8/layout/hierarchy4"/>
    <dgm:cxn modelId="{0165B387-169D-47CA-A8F2-B4BF2922C782}" srcId="{61B5FDCE-C70F-4005-BB3E-5CEDF2C43B2C}" destId="{07CDC130-EB7F-4BB2-8AD8-F0467075F90F}" srcOrd="0" destOrd="0" parTransId="{37B101A0-68C1-41A3-80A0-6F81C32DA96A}" sibTransId="{B7B5A603-B134-4A4A-9CB8-5FAAFCADB8BB}"/>
    <dgm:cxn modelId="{72524DE1-CBE7-4C5B-AAAF-3D3F39915106}" srcId="{61B5FDCE-C70F-4005-BB3E-5CEDF2C43B2C}" destId="{5EFEFFFB-A37A-4CB2-82A2-355BA5A09E8B}" srcOrd="1" destOrd="0" parTransId="{99BB5F1D-93C0-49F5-8835-ABBECEE43625}" sibTransId="{049240EB-935F-480A-B0E4-E90D275ED8BC}"/>
    <dgm:cxn modelId="{2999CD5A-D93D-4349-9D65-A1DBF0DFEBB5}" type="presOf" srcId="{5EFEFFFB-A37A-4CB2-82A2-355BA5A09E8B}" destId="{8169D59A-CA77-43E5-9140-C67B918632E1}" srcOrd="0" destOrd="0" presId="urn:microsoft.com/office/officeart/2005/8/layout/hierarchy4"/>
    <dgm:cxn modelId="{7E6AA823-C636-4EAF-9C4C-4E74FBC1886E}" type="presOf" srcId="{61B5FDCE-C70F-4005-BB3E-5CEDF2C43B2C}" destId="{6D2141CD-FCCA-4A4B-95DB-F4F7215124D8}" srcOrd="0" destOrd="0" presId="urn:microsoft.com/office/officeart/2005/8/layout/hierarchy4"/>
    <dgm:cxn modelId="{21FDFBF7-46A9-41EF-8BD4-C2E5F7DBC85B}" srcId="{AEFAFA53-44AE-415E-85F7-7BE518F17AEA}" destId="{61B5FDCE-C70F-4005-BB3E-5CEDF2C43B2C}" srcOrd="0" destOrd="0" parTransId="{F7D0AB15-3717-4385-B66C-1300D07591AD}" sibTransId="{27613F56-00E4-41DF-ACEB-22BC58D63F63}"/>
    <dgm:cxn modelId="{47155319-10B0-4E0B-AE1D-A4EE15F227DA}" type="presOf" srcId="{07CDC130-EB7F-4BB2-8AD8-F0467075F90F}" destId="{8ABF4DDB-0649-4AF3-B37B-0A70DD68A3DA}" srcOrd="0" destOrd="0" presId="urn:microsoft.com/office/officeart/2005/8/layout/hierarchy4"/>
    <dgm:cxn modelId="{A9ACAFA4-CF4E-4012-9120-96D44788B00F}" type="presParOf" srcId="{3307A070-D5CD-4011-B0B1-B732DC3A3B53}" destId="{C4966F7F-24B5-4EB5-9556-E812F9356850}" srcOrd="0" destOrd="0" presId="urn:microsoft.com/office/officeart/2005/8/layout/hierarchy4"/>
    <dgm:cxn modelId="{CD56ACF2-433E-483E-93E4-B52C3296CEAB}" type="presParOf" srcId="{C4966F7F-24B5-4EB5-9556-E812F9356850}" destId="{6D2141CD-FCCA-4A4B-95DB-F4F7215124D8}" srcOrd="0" destOrd="0" presId="urn:microsoft.com/office/officeart/2005/8/layout/hierarchy4"/>
    <dgm:cxn modelId="{9BD46D89-FC3D-425B-93CE-8110FA66AA25}" type="presParOf" srcId="{C4966F7F-24B5-4EB5-9556-E812F9356850}" destId="{1BD74E58-66F5-4436-A972-054DD03131FE}" srcOrd="1" destOrd="0" presId="urn:microsoft.com/office/officeart/2005/8/layout/hierarchy4"/>
    <dgm:cxn modelId="{FD13E5DA-B859-461C-87D9-1E095A855D40}" type="presParOf" srcId="{C4966F7F-24B5-4EB5-9556-E812F9356850}" destId="{B7C5BDF3-829E-43D6-88D0-8A5D58B669B0}" srcOrd="2" destOrd="0" presId="urn:microsoft.com/office/officeart/2005/8/layout/hierarchy4"/>
    <dgm:cxn modelId="{881553ED-ECE0-48FC-91D2-0E6FB4FFDB56}" type="presParOf" srcId="{B7C5BDF3-829E-43D6-88D0-8A5D58B669B0}" destId="{11E9E75D-19F7-489C-A192-435B2EB63851}" srcOrd="0" destOrd="0" presId="urn:microsoft.com/office/officeart/2005/8/layout/hierarchy4"/>
    <dgm:cxn modelId="{B83A37B4-0607-4330-B22A-437F43797E54}" type="presParOf" srcId="{11E9E75D-19F7-489C-A192-435B2EB63851}" destId="{8ABF4DDB-0649-4AF3-B37B-0A70DD68A3DA}" srcOrd="0" destOrd="0" presId="urn:microsoft.com/office/officeart/2005/8/layout/hierarchy4"/>
    <dgm:cxn modelId="{86B6CC95-BAC1-447F-A17C-67232BFD82D3}" type="presParOf" srcId="{11E9E75D-19F7-489C-A192-435B2EB63851}" destId="{A07443A0-37E7-401A-A885-C99454586E34}" srcOrd="1" destOrd="0" presId="urn:microsoft.com/office/officeart/2005/8/layout/hierarchy4"/>
    <dgm:cxn modelId="{E568F95B-9459-4133-82C2-1271CF80C0BC}" type="presParOf" srcId="{B7C5BDF3-829E-43D6-88D0-8A5D58B669B0}" destId="{2087679C-7091-4C38-9974-FC514227D055}" srcOrd="1" destOrd="0" presId="urn:microsoft.com/office/officeart/2005/8/layout/hierarchy4"/>
    <dgm:cxn modelId="{C0DC1040-9B78-4B1C-B64F-D13EC9EE0046}" type="presParOf" srcId="{B7C5BDF3-829E-43D6-88D0-8A5D58B669B0}" destId="{56B21533-848F-4599-ABA6-3A875EC37440}" srcOrd="2" destOrd="0" presId="urn:microsoft.com/office/officeart/2005/8/layout/hierarchy4"/>
    <dgm:cxn modelId="{5ABE2FFE-3CBF-4119-B3AD-DE6F8B96C295}" type="presParOf" srcId="{56B21533-848F-4599-ABA6-3A875EC37440}" destId="{8169D59A-CA77-43E5-9140-C67B918632E1}" srcOrd="0" destOrd="0" presId="urn:microsoft.com/office/officeart/2005/8/layout/hierarchy4"/>
    <dgm:cxn modelId="{27AE790D-F3F7-4139-A9AE-3178D6C756EB}" type="presParOf" srcId="{56B21533-848F-4599-ABA6-3A875EC37440}" destId="{5129AE05-9E21-41A9-BEEB-77C7F8E104CC}" srcOrd="1" destOrd="0" presId="urn:microsoft.com/office/officeart/2005/8/layout/hierarchy4"/>
  </dgm:cxnLst>
  <dgm:bg>
    <a:solidFill>
      <a:schemeClr val="bg1">
        <a:lumMod val="75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EEFF01E-0A01-4263-BEE1-7ACE1232E73D}" type="doc">
      <dgm:prSet loTypeId="urn:microsoft.com/office/officeart/2005/8/layout/lProcess3" loCatId="process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4AD878-3924-411A-B5E9-79FA0DDC5D4F}">
      <dgm:prSet phldrT="[Testo]" custT="1"/>
      <dgm:spPr>
        <a:ln w="76200">
          <a:noFill/>
        </a:ln>
      </dgm:spPr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1</a:t>
          </a:r>
          <a:endParaRPr lang="en-US" sz="2000" b="1" dirty="0">
            <a:latin typeface="Arial" pitchFamily="34" charset="0"/>
            <a:cs typeface="Arial" pitchFamily="34" charset="0"/>
          </a:endParaRPr>
        </a:p>
      </dgm:t>
    </dgm:pt>
    <dgm:pt modelId="{2037084D-98A1-4322-ADB2-D2E631D0EDC6}" type="parTrans" cxnId="{8011DEB3-7576-4106-868F-FF76A08059A9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1821BF2C-BDAE-4A6A-9C9A-661A71E2ACB4}" type="sibTrans" cxnId="{8011DEB3-7576-4106-868F-FF76A08059A9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8FB5480F-96C0-47C9-8376-9C66D2114799}">
      <dgm:prSet phldrT="[Testo]" custT="1"/>
      <dgm:spPr>
        <a:ln w="57150">
          <a:noFill/>
        </a:ln>
      </dgm:spPr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charset="0"/>
              <a:ea typeface="ＭＳ Ｐゴシック" pitchFamily="34" charset="-128"/>
            </a:rPr>
            <a:t>Introduction to ISTQB</a:t>
          </a:r>
          <a:r>
            <a:rPr lang="en-US" sz="2000" baseline="30000" dirty="0" smtClean="0">
              <a:latin typeface="Arial" charset="0"/>
              <a:ea typeface="ＭＳ Ｐゴシック" pitchFamily="34" charset="-128"/>
            </a:rPr>
            <a:t>®</a:t>
          </a:r>
          <a:endParaRPr lang="en-US" sz="2000" dirty="0"/>
        </a:p>
      </dgm:t>
    </dgm:pt>
    <dgm:pt modelId="{3330E20D-2D63-4DDA-8D4B-FBCDFA7D58F0}" type="parTrans" cxnId="{80C5A1E3-DC4D-4D37-990A-124C6E8C3A63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5494D673-032B-4228-93C8-B93DEF7A9735}" type="sibTrans" cxnId="{80C5A1E3-DC4D-4D37-990A-124C6E8C3A63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EFF926B1-A344-412D-AD70-E1795BD51BEB}">
      <dgm:prSet phldrT="[Testo]"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2</a:t>
          </a:r>
          <a:endParaRPr lang="en-US" sz="2400" b="1" dirty="0">
            <a:latin typeface="Arial" pitchFamily="34" charset="0"/>
            <a:cs typeface="Arial" pitchFamily="34" charset="0"/>
          </a:endParaRPr>
        </a:p>
      </dgm:t>
    </dgm:pt>
    <dgm:pt modelId="{8B5C27AC-B98A-4B01-8DC8-EF3CC54C6596}" type="parTrans" cxnId="{49960886-BDB9-4E29-91DE-DE868FFC353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B986976C-C69A-4808-9339-9334A1378AE9}" type="sibTrans" cxnId="{49960886-BDB9-4E29-91DE-DE868FFC353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01B9B187-672F-48A4-9856-B007AC28F104}">
      <dgm:prSet phldrT="[Testo]"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charset="0"/>
              <a:ea typeface="ＭＳ Ｐゴシック" pitchFamily="34" charset="-128"/>
            </a:rPr>
            <a:t>Syllabi and </a:t>
          </a: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Extension</a:t>
          </a:r>
          <a:r>
            <a:rPr lang="en-US" sz="2000" dirty="0" smtClean="0">
              <a:latin typeface="Arial" charset="0"/>
              <a:ea typeface="ＭＳ Ｐゴシック" pitchFamily="34" charset="-128"/>
            </a:rPr>
            <a:t>s</a:t>
          </a:r>
          <a:endParaRPr lang="en-US" sz="2000" dirty="0"/>
        </a:p>
      </dgm:t>
    </dgm:pt>
    <dgm:pt modelId="{5532A88C-F2AC-4FEF-9EA8-48BF8A0B8B84}" type="parTrans" cxnId="{76874F7F-DF07-400F-87E4-E7106069833A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373BB746-3213-4D89-9D25-D16256F3CB55}" type="sibTrans" cxnId="{76874F7F-DF07-400F-87E4-E7106069833A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DF8002F3-3CD4-440D-B6E2-0DE76974F8A7}">
      <dgm:prSet custT="1"/>
      <dgm:spPr>
        <a:ln w="76200">
          <a:solidFill>
            <a:schemeClr val="tx2"/>
          </a:solidFill>
        </a:ln>
      </dgm:spPr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4</a:t>
          </a:r>
          <a:endParaRPr lang="en-US" sz="1800" b="1" dirty="0">
            <a:latin typeface="Arial" pitchFamily="34" charset="0"/>
            <a:cs typeface="Arial" pitchFamily="34" charset="0"/>
          </a:endParaRPr>
        </a:p>
      </dgm:t>
    </dgm:pt>
    <dgm:pt modelId="{D3192F5E-C9D9-416E-8384-ECC1FEE136C7}" type="parTrans" cxnId="{9713CC0A-A772-4911-85CB-C6EB881FF62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39B16C9C-346E-4938-8E16-274BE4E79BD1}" type="sibTrans" cxnId="{9713CC0A-A772-4911-85CB-C6EB881FF62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576E2BA8-ACBF-4479-B3F3-94CF3BC02561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5</a:t>
          </a:r>
          <a:endParaRPr lang="en-US" sz="2000" b="1" dirty="0">
            <a:latin typeface="Arial" pitchFamily="34" charset="0"/>
            <a:cs typeface="Arial" pitchFamily="34" charset="0"/>
          </a:endParaRPr>
        </a:p>
      </dgm:t>
    </dgm:pt>
    <dgm:pt modelId="{75B5195B-110E-4F6A-A062-11278D189147}" type="parTrans" cxnId="{B9A848E1-6386-48BA-93B7-E540A19D66E6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49034DBE-9B71-41D5-9BA2-9E92A537D4D1}" type="sibTrans" cxnId="{B9A848E1-6386-48BA-93B7-E540A19D66E6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043AF321-81C0-4E41-8351-E11B28DA9F88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8</a:t>
          </a:r>
          <a:endParaRPr lang="en-US" sz="1800" b="1" dirty="0">
            <a:latin typeface="Arial" pitchFamily="34" charset="0"/>
            <a:cs typeface="Arial" pitchFamily="34" charset="0"/>
          </a:endParaRPr>
        </a:p>
      </dgm:t>
    </dgm:pt>
    <dgm:pt modelId="{D81B2C7E-7739-4B05-8570-C1C0411B2125}" type="parTrans" cxnId="{DB20AFF8-D433-4414-9ACC-73E418B6A900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BADE8D99-C796-4C68-B991-60AC7B8BCF59}" type="sibTrans" cxnId="{DB20AFF8-D433-4414-9ACC-73E418B6A900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5E6CD0B1-5B9B-47D6-BA1A-D5CF41FD7441}">
      <dgm:prSet custT="1"/>
      <dgm:spPr>
        <a:ln w="57150">
          <a:solidFill>
            <a:schemeClr val="tx2">
              <a:alpha val="90000"/>
            </a:schemeClr>
          </a:solidFill>
        </a:ln>
      </dgm:spPr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anose="020B0604020202020204" pitchFamily="34" charset="0"/>
              <a:cs typeface="Arial" panose="020B0604020202020204" pitchFamily="34" charset="0"/>
            </a:rPr>
            <a:t>Exams</a:t>
          </a:r>
          <a:endParaRPr lang="en-US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E2DFB7-E49E-4E8F-BB7A-2201CA0EB89D}" type="parTrans" cxnId="{8E3B3C81-4605-4DF5-BDAB-6BC0AC8EB4DE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9AACC6DE-C5FD-4C95-A125-5663D61692E6}" type="sibTrans" cxnId="{8E3B3C81-4605-4DF5-BDAB-6BC0AC8EB4DE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C2A13C22-95A0-485C-AA1A-6233199E172F}">
      <dgm:prSet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charset="0"/>
              <a:ea typeface="ＭＳ Ｐゴシック" pitchFamily="34" charset="-128"/>
            </a:rPr>
            <a:t>Special Initiatives</a:t>
          </a:r>
          <a:endParaRPr lang="en-US" sz="2000" dirty="0"/>
        </a:p>
      </dgm:t>
    </dgm:pt>
    <dgm:pt modelId="{80606E44-BB5E-413F-84C2-982B4D7633EE}" type="parTrans" cxnId="{0772C572-0174-4355-814B-4105231E869C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84667E15-71BD-4A87-97EF-D586BBCDF70E}" type="sibTrans" cxnId="{0772C572-0174-4355-814B-4105231E869C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8B64A5E0-43D9-4E72-BF0F-DE944D606CFA}">
      <dgm:prSet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charset="0"/>
              <a:ea typeface="ＭＳ Ｐゴシック" pitchFamily="34" charset="-128"/>
            </a:rPr>
            <a:t>Contacts</a:t>
          </a:r>
          <a:endParaRPr lang="en-US" sz="2000" dirty="0"/>
        </a:p>
      </dgm:t>
    </dgm:pt>
    <dgm:pt modelId="{183B8D0D-E8E1-4A17-8536-841B13F6E192}" type="parTrans" cxnId="{CD790DC2-849A-4979-B542-C607CC7BB8FF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C74A2261-81DA-40F1-80D4-16919C24AAD0}" type="sibTrans" cxnId="{CD790DC2-849A-4979-B542-C607CC7BB8FF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/>
        </a:p>
      </dgm:t>
    </dgm:pt>
    <dgm:pt modelId="{181B87ED-908D-4965-9942-DF9665B61B95}">
      <dgm:prSet phldrT="[Testo]"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3</a:t>
          </a:r>
          <a:endParaRPr lang="en-US" sz="2800" b="1" dirty="0">
            <a:latin typeface="Arial" pitchFamily="34" charset="0"/>
            <a:cs typeface="Arial" pitchFamily="34" charset="0"/>
          </a:endParaRPr>
        </a:p>
      </dgm:t>
    </dgm:pt>
    <dgm:pt modelId="{D1C319F9-7FAD-4A37-B9C3-8301733FFE1B}" type="parTrans" cxnId="{734A44A2-46CA-403B-B6F7-CE22336E7F6D}">
      <dgm:prSet/>
      <dgm:spPr/>
      <dgm:t>
        <a:bodyPr/>
        <a:lstStyle/>
        <a:p>
          <a:endParaRPr lang="it-IT"/>
        </a:p>
      </dgm:t>
    </dgm:pt>
    <dgm:pt modelId="{31C6668E-BF87-4E1E-90DE-4D5446AF744C}" type="sibTrans" cxnId="{734A44A2-46CA-403B-B6F7-CE22336E7F6D}">
      <dgm:prSet/>
      <dgm:spPr/>
      <dgm:t>
        <a:bodyPr/>
        <a:lstStyle/>
        <a:p>
          <a:endParaRPr lang="it-IT"/>
        </a:p>
      </dgm:t>
    </dgm:pt>
    <dgm:pt modelId="{0C6FA87D-6DD1-48CF-9DB7-40EF71E333C5}">
      <dgm:prSet phldrT="[Testo]"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charset="0"/>
              <a:ea typeface="ＭＳ Ｐゴシック" pitchFamily="34" charset="-128"/>
            </a:rPr>
            <a:t>Benefits</a:t>
          </a:r>
          <a:endParaRPr lang="en-US" sz="2000" dirty="0">
            <a:latin typeface="Arial" charset="0"/>
            <a:ea typeface="ＭＳ Ｐゴシック" pitchFamily="34" charset="-128"/>
          </a:endParaRPr>
        </a:p>
      </dgm:t>
    </dgm:pt>
    <dgm:pt modelId="{13A955E2-09EF-4A7E-8882-9C372DD7793A}" type="parTrans" cxnId="{6C02D912-32A7-4232-AC4E-0B8633E28949}">
      <dgm:prSet/>
      <dgm:spPr/>
      <dgm:t>
        <a:bodyPr/>
        <a:lstStyle/>
        <a:p>
          <a:endParaRPr lang="it-IT"/>
        </a:p>
      </dgm:t>
    </dgm:pt>
    <dgm:pt modelId="{CD41EB3A-6F84-4AC9-B548-9A92A31E6EED}" type="sibTrans" cxnId="{6C02D912-32A7-4232-AC4E-0B8633E28949}">
      <dgm:prSet/>
      <dgm:spPr/>
      <dgm:t>
        <a:bodyPr/>
        <a:lstStyle/>
        <a:p>
          <a:endParaRPr lang="it-IT"/>
        </a:p>
      </dgm:t>
    </dgm:pt>
    <dgm:pt modelId="{80CD576D-1331-462D-BE5A-05F8CA3ACE4A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000" smtClean="0">
              <a:latin typeface="Arial" charset="0"/>
              <a:ea typeface="ＭＳ Ｐゴシック" pitchFamily="34" charset="-128"/>
            </a:rPr>
            <a:t>ISTQB</a:t>
          </a:r>
          <a:r>
            <a:rPr lang="en-US" sz="2000" baseline="30000" smtClean="0">
              <a:latin typeface="Arial" charset="0"/>
              <a:ea typeface="ＭＳ Ｐゴシック" pitchFamily="34" charset="-128"/>
            </a:rPr>
            <a:t>®</a:t>
          </a:r>
          <a:r>
            <a:rPr lang="en-US" sz="2000" smtClean="0">
              <a:latin typeface="Arial" charset="0"/>
              <a:ea typeface="ＭＳ Ｐゴシック" pitchFamily="34" charset="-128"/>
            </a:rPr>
            <a:t>: </a:t>
          </a:r>
          <a:r>
            <a:rPr lang="en-US" sz="2000" dirty="0" smtClean="0">
              <a:latin typeface="Arial" charset="0"/>
              <a:ea typeface="ＭＳ Ｐゴシック" pitchFamily="34" charset="-128"/>
            </a:rPr>
            <a:t>Worldwide Footprint</a:t>
          </a:r>
          <a:endParaRPr lang="en-US" sz="2000" dirty="0">
            <a:latin typeface="Arial" charset="0"/>
            <a:ea typeface="ＭＳ Ｐゴシック" pitchFamily="34" charset="-128"/>
          </a:endParaRPr>
        </a:p>
      </dgm:t>
    </dgm:pt>
    <dgm:pt modelId="{E5C2D837-35F3-43D8-B72F-A559B69B628A}" type="parTrans" cxnId="{92F001AA-061C-45C8-AF47-9C24E1C302A8}">
      <dgm:prSet/>
      <dgm:spPr/>
      <dgm:t>
        <a:bodyPr/>
        <a:lstStyle/>
        <a:p>
          <a:endParaRPr lang="it-IT"/>
        </a:p>
      </dgm:t>
    </dgm:pt>
    <dgm:pt modelId="{8079BE5F-E385-4274-A673-47A7088F8F19}" type="sibTrans" cxnId="{92F001AA-061C-45C8-AF47-9C24E1C302A8}">
      <dgm:prSet/>
      <dgm:spPr/>
      <dgm:t>
        <a:bodyPr/>
        <a:lstStyle/>
        <a:p>
          <a:endParaRPr lang="it-IT"/>
        </a:p>
      </dgm:t>
    </dgm:pt>
    <dgm:pt modelId="{C2C6E93F-80AD-4BB4-A962-0FB3A69FDEC1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7</a:t>
          </a:r>
          <a:endParaRPr lang="en-US" sz="2800" b="1" dirty="0">
            <a:latin typeface="Arial" pitchFamily="34" charset="0"/>
            <a:cs typeface="Arial" pitchFamily="34" charset="0"/>
          </a:endParaRPr>
        </a:p>
      </dgm:t>
    </dgm:pt>
    <dgm:pt modelId="{FB19EAE4-4888-4ED5-B9DD-EE5B3796AC74}" type="parTrans" cxnId="{4E09BFEF-53BE-4AD1-8031-01FDE63AA5C7}">
      <dgm:prSet/>
      <dgm:spPr/>
      <dgm:t>
        <a:bodyPr/>
        <a:lstStyle/>
        <a:p>
          <a:endParaRPr lang="it-IT"/>
        </a:p>
      </dgm:t>
    </dgm:pt>
    <dgm:pt modelId="{4CC4530E-29A3-4F19-BE33-D9DC59504725}" type="sibTrans" cxnId="{4E09BFEF-53BE-4AD1-8031-01FDE63AA5C7}">
      <dgm:prSet/>
      <dgm:spPr/>
      <dgm:t>
        <a:bodyPr/>
        <a:lstStyle/>
        <a:p>
          <a:endParaRPr lang="it-IT"/>
        </a:p>
      </dgm:t>
    </dgm:pt>
    <dgm:pt modelId="{DD69BDC7-2EE2-469E-80FA-CFFB0344F064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charset="0"/>
              <a:ea typeface="ＭＳ Ｐゴシック" pitchFamily="34" charset="-128"/>
            </a:rPr>
            <a:t>6</a:t>
          </a:r>
          <a:endParaRPr lang="en-US" sz="2800" b="1" dirty="0">
            <a:latin typeface="Arial" charset="0"/>
            <a:ea typeface="ＭＳ Ｐゴシック" pitchFamily="34" charset="-128"/>
          </a:endParaRPr>
        </a:p>
      </dgm:t>
    </dgm:pt>
    <dgm:pt modelId="{FB966EC2-BE7E-4FBC-BFA4-6BBB10D7D355}" type="parTrans" cxnId="{61BE64F5-45E3-441B-97BD-47604EBDA466}">
      <dgm:prSet/>
      <dgm:spPr/>
      <dgm:t>
        <a:bodyPr/>
        <a:lstStyle/>
        <a:p>
          <a:endParaRPr lang="it-IT"/>
        </a:p>
      </dgm:t>
    </dgm:pt>
    <dgm:pt modelId="{5245BB18-2499-46A9-8E56-ECF77F5463E8}" type="sibTrans" cxnId="{61BE64F5-45E3-441B-97BD-47604EBDA466}">
      <dgm:prSet/>
      <dgm:spPr/>
      <dgm:t>
        <a:bodyPr/>
        <a:lstStyle/>
        <a:p>
          <a:endParaRPr lang="it-IT"/>
        </a:p>
      </dgm:t>
    </dgm:pt>
    <dgm:pt modelId="{DA4EE90F-243E-424E-90B5-2FDA3617F2EA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charset="0"/>
              <a:ea typeface="ＭＳ Ｐゴシック" pitchFamily="34" charset="-128"/>
            </a:rPr>
            <a:t>ISTQB</a:t>
          </a:r>
          <a:r>
            <a:rPr lang="en-US" sz="2000" baseline="30000" dirty="0" smtClean="0">
              <a:latin typeface="Arial" charset="0"/>
              <a:ea typeface="ＭＳ Ｐゴシック" pitchFamily="34" charset="-128"/>
            </a:rPr>
            <a:t>® </a:t>
          </a:r>
          <a:r>
            <a:rPr lang="en-US" sz="2000" baseline="0" dirty="0" smtClean="0">
              <a:latin typeface="Arial" charset="0"/>
              <a:ea typeface="ＭＳ Ｐゴシック" pitchFamily="34" charset="-128"/>
            </a:rPr>
            <a:t>Partner Program</a:t>
          </a:r>
          <a:endParaRPr lang="en-US" sz="2000" baseline="0" dirty="0">
            <a:latin typeface="Arial" charset="0"/>
            <a:ea typeface="ＭＳ Ｐゴシック" pitchFamily="34" charset="-128"/>
          </a:endParaRPr>
        </a:p>
      </dgm:t>
    </dgm:pt>
    <dgm:pt modelId="{37EDA838-B7C3-4A33-B5C6-8FFA2C25924C}" type="parTrans" cxnId="{C7BD694A-FC7D-4D1E-B360-CBEF13DAE8D4}">
      <dgm:prSet/>
      <dgm:spPr/>
      <dgm:t>
        <a:bodyPr/>
        <a:lstStyle/>
        <a:p>
          <a:endParaRPr lang="it-IT"/>
        </a:p>
      </dgm:t>
    </dgm:pt>
    <dgm:pt modelId="{286F450F-E71B-4826-8DCF-C81937E91FCB}" type="sibTrans" cxnId="{C7BD694A-FC7D-4D1E-B360-CBEF13DAE8D4}">
      <dgm:prSet/>
      <dgm:spPr/>
      <dgm:t>
        <a:bodyPr/>
        <a:lstStyle/>
        <a:p>
          <a:endParaRPr lang="it-IT"/>
        </a:p>
      </dgm:t>
    </dgm:pt>
    <dgm:pt modelId="{B664486E-92E6-4055-91B5-332AAFD7E3E4}" type="pres">
      <dgm:prSet presAssocID="{DEEFF01E-0A01-4263-BEE1-7ACE1232E73D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54CD529-9E39-4A13-AEF7-38574C091E50}" type="pres">
      <dgm:prSet presAssocID="{BD4AD878-3924-411A-B5E9-79FA0DDC5D4F}" presName="horFlow" presStyleCnt="0"/>
      <dgm:spPr/>
    </dgm:pt>
    <dgm:pt modelId="{35C6C5AA-52D9-4A78-B68A-A9D809867AD4}" type="pres">
      <dgm:prSet presAssocID="{BD4AD878-3924-411A-B5E9-79FA0DDC5D4F}" presName="bigChev" presStyleLbl="node1" presStyleIdx="0" presStyleCnt="8"/>
      <dgm:spPr/>
      <dgm:t>
        <a:bodyPr/>
        <a:lstStyle/>
        <a:p>
          <a:endParaRPr lang="en-US"/>
        </a:p>
      </dgm:t>
    </dgm:pt>
    <dgm:pt modelId="{7B1EAEF9-A64C-4005-938C-9310FE204351}" type="pres">
      <dgm:prSet presAssocID="{3330E20D-2D63-4DDA-8D4B-FBCDFA7D58F0}" presName="parTrans" presStyleCnt="0"/>
      <dgm:spPr/>
    </dgm:pt>
    <dgm:pt modelId="{406083E2-06D6-4465-9CC8-2F99C152D27E}" type="pres">
      <dgm:prSet presAssocID="{8FB5480F-96C0-47C9-8376-9C66D2114799}" presName="node" presStyleLbl="alignAccFollowNode1" presStyleIdx="0" presStyleCnt="8" custScaleX="451588" custLinFactNeighborX="340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DF03BD-13C6-4EA5-AC95-DD817C5806CD}" type="pres">
      <dgm:prSet presAssocID="{BD4AD878-3924-411A-B5E9-79FA0DDC5D4F}" presName="vSp" presStyleCnt="0"/>
      <dgm:spPr/>
    </dgm:pt>
    <dgm:pt modelId="{9F9CA12E-8BB9-4153-94C4-58A0B83F2CC9}" type="pres">
      <dgm:prSet presAssocID="{EFF926B1-A344-412D-AD70-E1795BD51BEB}" presName="horFlow" presStyleCnt="0"/>
      <dgm:spPr/>
    </dgm:pt>
    <dgm:pt modelId="{19619D0B-2C47-4AE6-B21A-436E01728538}" type="pres">
      <dgm:prSet presAssocID="{EFF926B1-A344-412D-AD70-E1795BD51BEB}" presName="bigChev" presStyleLbl="node1" presStyleIdx="1" presStyleCnt="8"/>
      <dgm:spPr/>
      <dgm:t>
        <a:bodyPr/>
        <a:lstStyle/>
        <a:p>
          <a:endParaRPr lang="en-US"/>
        </a:p>
      </dgm:t>
    </dgm:pt>
    <dgm:pt modelId="{2218015A-862F-4E95-891F-8CE21AF3E703}" type="pres">
      <dgm:prSet presAssocID="{5532A88C-F2AC-4FEF-9EA8-48BF8A0B8B84}" presName="parTrans" presStyleCnt="0"/>
      <dgm:spPr/>
    </dgm:pt>
    <dgm:pt modelId="{DFD41881-8EFC-4C14-9EA3-EECEA61C4A3A}" type="pres">
      <dgm:prSet presAssocID="{01B9B187-672F-48A4-9856-B007AC28F104}" presName="node" presStyleLbl="alignAccFollowNode1" presStyleIdx="1" presStyleCnt="8" custScaleX="451588" custLinFactY="36869" custLinFactNeighborX="1180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A6FE3E-8809-4787-BF59-2568DE258B12}" type="pres">
      <dgm:prSet presAssocID="{EFF926B1-A344-412D-AD70-E1795BD51BEB}" presName="vSp" presStyleCnt="0"/>
      <dgm:spPr/>
    </dgm:pt>
    <dgm:pt modelId="{634ECB23-C909-497D-9143-C81B151898EE}" type="pres">
      <dgm:prSet presAssocID="{181B87ED-908D-4965-9942-DF9665B61B95}" presName="horFlow" presStyleCnt="0"/>
      <dgm:spPr/>
    </dgm:pt>
    <dgm:pt modelId="{2EAA8D61-BA74-49FA-B182-D0E829830358}" type="pres">
      <dgm:prSet presAssocID="{181B87ED-908D-4965-9942-DF9665B61B95}" presName="bigChev" presStyleLbl="node1" presStyleIdx="2" presStyleCnt="8"/>
      <dgm:spPr/>
      <dgm:t>
        <a:bodyPr/>
        <a:lstStyle/>
        <a:p>
          <a:endParaRPr lang="it-IT"/>
        </a:p>
      </dgm:t>
    </dgm:pt>
    <dgm:pt modelId="{C857D874-A425-4778-98EE-42A2D3541169}" type="pres">
      <dgm:prSet presAssocID="{13A955E2-09EF-4A7E-8882-9C372DD7793A}" presName="parTrans" presStyleCnt="0"/>
      <dgm:spPr/>
    </dgm:pt>
    <dgm:pt modelId="{B6653B53-0C7A-43CC-82EB-78221EB7F72A}" type="pres">
      <dgm:prSet presAssocID="{0C6FA87D-6DD1-48CF-9DB7-40EF71E333C5}" presName="node" presStyleLbl="alignAccFollowNode1" presStyleIdx="2" presStyleCnt="8" custScaleX="451630" custLinFactY="-37555" custLinFactNeighborY="-10000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50B20DA-1D6E-4579-B4F1-7D26A00E153F}" type="pres">
      <dgm:prSet presAssocID="{181B87ED-908D-4965-9942-DF9665B61B95}" presName="vSp" presStyleCnt="0"/>
      <dgm:spPr/>
    </dgm:pt>
    <dgm:pt modelId="{5DC4727A-C9A8-4E94-91B3-AE5ED6AB8220}" type="pres">
      <dgm:prSet presAssocID="{DF8002F3-3CD4-440D-B6E2-0DE76974F8A7}" presName="horFlow" presStyleCnt="0"/>
      <dgm:spPr/>
    </dgm:pt>
    <dgm:pt modelId="{C7C59410-77F4-460D-A134-79241B0CEE06}" type="pres">
      <dgm:prSet presAssocID="{DF8002F3-3CD4-440D-B6E2-0DE76974F8A7}" presName="bigChev" presStyleLbl="node1" presStyleIdx="3" presStyleCnt="8"/>
      <dgm:spPr/>
      <dgm:t>
        <a:bodyPr/>
        <a:lstStyle/>
        <a:p>
          <a:endParaRPr lang="en-US"/>
        </a:p>
      </dgm:t>
    </dgm:pt>
    <dgm:pt modelId="{264B44B0-E588-4911-B8EE-1152D6AD7E73}" type="pres">
      <dgm:prSet presAssocID="{E6E2DFB7-E49E-4E8F-BB7A-2201CA0EB89D}" presName="parTrans" presStyleCnt="0"/>
      <dgm:spPr/>
    </dgm:pt>
    <dgm:pt modelId="{780B2F1A-27C7-4097-815F-1913D45E716C}" type="pres">
      <dgm:prSet presAssocID="{5E6CD0B1-5B9B-47D6-BA1A-D5CF41FD7441}" presName="node" presStyleLbl="alignAccFollowNode1" presStyleIdx="3" presStyleCnt="8" custScaleX="451508" custLinFactNeighborX="22185" custLinFactNeighborY="22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96CEFC-45CF-429A-9EDD-D3FDE10BED4A}" type="pres">
      <dgm:prSet presAssocID="{DF8002F3-3CD4-440D-B6E2-0DE76974F8A7}" presName="vSp" presStyleCnt="0"/>
      <dgm:spPr/>
    </dgm:pt>
    <dgm:pt modelId="{F8344761-6B76-491C-A551-8C9195353304}" type="pres">
      <dgm:prSet presAssocID="{576E2BA8-ACBF-4479-B3F3-94CF3BC02561}" presName="horFlow" presStyleCnt="0"/>
      <dgm:spPr/>
    </dgm:pt>
    <dgm:pt modelId="{11E5EE8B-EB71-47D7-A6EB-4AFF14F5559B}" type="pres">
      <dgm:prSet presAssocID="{576E2BA8-ACBF-4479-B3F3-94CF3BC02561}" presName="bigChev" presStyleLbl="node1" presStyleIdx="4" presStyleCnt="8"/>
      <dgm:spPr/>
      <dgm:t>
        <a:bodyPr/>
        <a:lstStyle/>
        <a:p>
          <a:endParaRPr lang="en-US"/>
        </a:p>
      </dgm:t>
    </dgm:pt>
    <dgm:pt modelId="{E846ACF1-6306-4F45-8077-4DC2AFDE3920}" type="pres">
      <dgm:prSet presAssocID="{E5C2D837-35F3-43D8-B72F-A559B69B628A}" presName="parTrans" presStyleCnt="0"/>
      <dgm:spPr/>
    </dgm:pt>
    <dgm:pt modelId="{073A3499-5AE1-4A11-A19F-F22AF19983F9}" type="pres">
      <dgm:prSet presAssocID="{80CD576D-1331-462D-BE5A-05F8CA3ACE4A}" presName="node" presStyleLbl="alignAccFollowNode1" presStyleIdx="4" presStyleCnt="8" custScaleX="45163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8BA2AD1-9E73-4F9B-BA87-1F044C13FF81}" type="pres">
      <dgm:prSet presAssocID="{576E2BA8-ACBF-4479-B3F3-94CF3BC02561}" presName="vSp" presStyleCnt="0"/>
      <dgm:spPr/>
    </dgm:pt>
    <dgm:pt modelId="{7B461008-7EAB-43B8-9BFA-65F55FEFD171}" type="pres">
      <dgm:prSet presAssocID="{DD69BDC7-2EE2-469E-80FA-CFFB0344F064}" presName="horFlow" presStyleCnt="0"/>
      <dgm:spPr/>
    </dgm:pt>
    <dgm:pt modelId="{C4B26DE5-00B8-4094-B3F0-9EF442C3FF6A}" type="pres">
      <dgm:prSet presAssocID="{DD69BDC7-2EE2-469E-80FA-CFFB0344F064}" presName="bigChev" presStyleLbl="node1" presStyleIdx="5" presStyleCnt="8"/>
      <dgm:spPr/>
      <dgm:t>
        <a:bodyPr/>
        <a:lstStyle/>
        <a:p>
          <a:endParaRPr lang="it-IT"/>
        </a:p>
      </dgm:t>
    </dgm:pt>
    <dgm:pt modelId="{95E83FC1-1033-4DD0-8404-72E1935A4C9D}" type="pres">
      <dgm:prSet presAssocID="{37EDA838-B7C3-4A33-B5C6-8FFA2C25924C}" presName="parTrans" presStyleCnt="0"/>
      <dgm:spPr/>
    </dgm:pt>
    <dgm:pt modelId="{016FEF83-8785-441B-A8CF-CD6947CC749A}" type="pres">
      <dgm:prSet presAssocID="{DA4EE90F-243E-424E-90B5-2FDA3617F2EA}" presName="node" presStyleLbl="alignAccFollowNode1" presStyleIdx="5" presStyleCnt="8" custScaleX="45179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0D68F4C-EDB4-4AA7-AD86-0FDAC7AECB64}" type="pres">
      <dgm:prSet presAssocID="{DD69BDC7-2EE2-469E-80FA-CFFB0344F064}" presName="vSp" presStyleCnt="0"/>
      <dgm:spPr/>
    </dgm:pt>
    <dgm:pt modelId="{FABC870C-2ABD-445A-918B-1EE6DF5309CE}" type="pres">
      <dgm:prSet presAssocID="{C2C6E93F-80AD-4BB4-A962-0FB3A69FDEC1}" presName="horFlow" presStyleCnt="0"/>
      <dgm:spPr/>
    </dgm:pt>
    <dgm:pt modelId="{AC4B7371-C653-4DDB-82E6-5953FE90BFF4}" type="pres">
      <dgm:prSet presAssocID="{C2C6E93F-80AD-4BB4-A962-0FB3A69FDEC1}" presName="bigChev" presStyleLbl="node1" presStyleIdx="6" presStyleCnt="8"/>
      <dgm:spPr/>
      <dgm:t>
        <a:bodyPr/>
        <a:lstStyle/>
        <a:p>
          <a:endParaRPr lang="it-IT"/>
        </a:p>
      </dgm:t>
    </dgm:pt>
    <dgm:pt modelId="{B1087800-5FB4-45BF-ADF9-402B36E70520}" type="pres">
      <dgm:prSet presAssocID="{80606E44-BB5E-413F-84C2-982B4D7633EE}" presName="parTrans" presStyleCnt="0"/>
      <dgm:spPr/>
    </dgm:pt>
    <dgm:pt modelId="{1EE5862D-2108-40CF-A410-CE90F34CF289}" type="pres">
      <dgm:prSet presAssocID="{C2A13C22-95A0-485C-AA1A-6233199E172F}" presName="node" presStyleLbl="alignAccFollowNode1" presStyleIdx="6" presStyleCnt="8" custScaleX="4515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ED2B6B-9F4D-4DED-A360-2E1ECC038F41}" type="pres">
      <dgm:prSet presAssocID="{C2C6E93F-80AD-4BB4-A962-0FB3A69FDEC1}" presName="vSp" presStyleCnt="0"/>
      <dgm:spPr/>
    </dgm:pt>
    <dgm:pt modelId="{87768461-B7BE-4086-9700-6B013AC0E1A5}" type="pres">
      <dgm:prSet presAssocID="{043AF321-81C0-4E41-8351-E11B28DA9F88}" presName="horFlow" presStyleCnt="0"/>
      <dgm:spPr/>
    </dgm:pt>
    <dgm:pt modelId="{2A85A19E-DA7A-4909-884B-4FA0F667FA1D}" type="pres">
      <dgm:prSet presAssocID="{043AF321-81C0-4E41-8351-E11B28DA9F88}" presName="bigChev" presStyleLbl="node1" presStyleIdx="7" presStyleCnt="8"/>
      <dgm:spPr/>
      <dgm:t>
        <a:bodyPr/>
        <a:lstStyle/>
        <a:p>
          <a:endParaRPr lang="en-US"/>
        </a:p>
      </dgm:t>
    </dgm:pt>
    <dgm:pt modelId="{F8D37972-926D-4D57-9395-F28450E2D9D9}" type="pres">
      <dgm:prSet presAssocID="{183B8D0D-E8E1-4A17-8536-841B13F6E192}" presName="parTrans" presStyleCnt="0"/>
      <dgm:spPr/>
    </dgm:pt>
    <dgm:pt modelId="{F6ED21A3-61E8-4589-9D89-CAB8EE2B5795}" type="pres">
      <dgm:prSet presAssocID="{8B64A5E0-43D9-4E72-BF0F-DE944D606CFA}" presName="node" presStyleLbl="alignAccFollowNode1" presStyleIdx="7" presStyleCnt="8" custScaleX="4515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D790DC2-849A-4979-B542-C607CC7BB8FF}" srcId="{043AF321-81C0-4E41-8351-E11B28DA9F88}" destId="{8B64A5E0-43D9-4E72-BF0F-DE944D606CFA}" srcOrd="0" destOrd="0" parTransId="{183B8D0D-E8E1-4A17-8536-841B13F6E192}" sibTransId="{C74A2261-81DA-40F1-80D4-16919C24AAD0}"/>
    <dgm:cxn modelId="{A867FB96-13AA-4409-BDEF-26391E1DC951}" type="presOf" srcId="{0C6FA87D-6DD1-48CF-9DB7-40EF71E333C5}" destId="{B6653B53-0C7A-43CC-82EB-78221EB7F72A}" srcOrd="0" destOrd="0" presId="urn:microsoft.com/office/officeart/2005/8/layout/lProcess3"/>
    <dgm:cxn modelId="{B9A848E1-6386-48BA-93B7-E540A19D66E6}" srcId="{DEEFF01E-0A01-4263-BEE1-7ACE1232E73D}" destId="{576E2BA8-ACBF-4479-B3F3-94CF3BC02561}" srcOrd="4" destOrd="0" parTransId="{75B5195B-110E-4F6A-A062-11278D189147}" sibTransId="{49034DBE-9B71-41D5-9BA2-9E92A537D4D1}"/>
    <dgm:cxn modelId="{A762A8C6-CA5A-41F8-8AD8-8F5C44A399E1}" type="presOf" srcId="{181B87ED-908D-4965-9942-DF9665B61B95}" destId="{2EAA8D61-BA74-49FA-B182-D0E829830358}" srcOrd="0" destOrd="0" presId="urn:microsoft.com/office/officeart/2005/8/layout/lProcess3"/>
    <dgm:cxn modelId="{69536AD9-83D9-49AA-8D80-7D3D2AF370AC}" type="presOf" srcId="{5E6CD0B1-5B9B-47D6-BA1A-D5CF41FD7441}" destId="{780B2F1A-27C7-4097-815F-1913D45E716C}" srcOrd="0" destOrd="0" presId="urn:microsoft.com/office/officeart/2005/8/layout/lProcess3"/>
    <dgm:cxn modelId="{85C314C7-ADBB-4F71-A800-267FC86FD53A}" type="presOf" srcId="{DF8002F3-3CD4-440D-B6E2-0DE76974F8A7}" destId="{C7C59410-77F4-460D-A134-79241B0CEE06}" srcOrd="0" destOrd="0" presId="urn:microsoft.com/office/officeart/2005/8/layout/lProcess3"/>
    <dgm:cxn modelId="{8CCBAE4A-2337-4C91-BCC1-2FF66D3CD065}" type="presOf" srcId="{EFF926B1-A344-412D-AD70-E1795BD51BEB}" destId="{19619D0B-2C47-4AE6-B21A-436E01728538}" srcOrd="0" destOrd="0" presId="urn:microsoft.com/office/officeart/2005/8/layout/lProcess3"/>
    <dgm:cxn modelId="{B856454B-06B6-4989-80E0-FD9BBBBBA1F9}" type="presOf" srcId="{80CD576D-1331-462D-BE5A-05F8CA3ACE4A}" destId="{073A3499-5AE1-4A11-A19F-F22AF19983F9}" srcOrd="0" destOrd="0" presId="urn:microsoft.com/office/officeart/2005/8/layout/lProcess3"/>
    <dgm:cxn modelId="{49960886-BDB9-4E29-91DE-DE868FFC3531}" srcId="{DEEFF01E-0A01-4263-BEE1-7ACE1232E73D}" destId="{EFF926B1-A344-412D-AD70-E1795BD51BEB}" srcOrd="1" destOrd="0" parTransId="{8B5C27AC-B98A-4B01-8DC8-EF3CC54C6596}" sibTransId="{B986976C-C69A-4808-9339-9334A1378AE9}"/>
    <dgm:cxn modelId="{3D556EBC-0271-4E31-8C20-D7A33E265FAE}" type="presOf" srcId="{DA4EE90F-243E-424E-90B5-2FDA3617F2EA}" destId="{016FEF83-8785-441B-A8CF-CD6947CC749A}" srcOrd="0" destOrd="0" presId="urn:microsoft.com/office/officeart/2005/8/layout/lProcess3"/>
    <dgm:cxn modelId="{76874F7F-DF07-400F-87E4-E7106069833A}" srcId="{EFF926B1-A344-412D-AD70-E1795BD51BEB}" destId="{01B9B187-672F-48A4-9856-B007AC28F104}" srcOrd="0" destOrd="0" parTransId="{5532A88C-F2AC-4FEF-9EA8-48BF8A0B8B84}" sibTransId="{373BB746-3213-4D89-9D25-D16256F3CB55}"/>
    <dgm:cxn modelId="{0425C81A-DFDE-4089-8CDA-E5819C844DF7}" type="presOf" srcId="{576E2BA8-ACBF-4479-B3F3-94CF3BC02561}" destId="{11E5EE8B-EB71-47D7-A6EB-4AFF14F5559B}" srcOrd="0" destOrd="0" presId="urn:microsoft.com/office/officeart/2005/8/layout/lProcess3"/>
    <dgm:cxn modelId="{8B0CD5BE-F947-4EC6-BA19-12A6B8A68F65}" type="presOf" srcId="{8B64A5E0-43D9-4E72-BF0F-DE944D606CFA}" destId="{F6ED21A3-61E8-4589-9D89-CAB8EE2B5795}" srcOrd="0" destOrd="0" presId="urn:microsoft.com/office/officeart/2005/8/layout/lProcess3"/>
    <dgm:cxn modelId="{734A44A2-46CA-403B-B6F7-CE22336E7F6D}" srcId="{DEEFF01E-0A01-4263-BEE1-7ACE1232E73D}" destId="{181B87ED-908D-4965-9942-DF9665B61B95}" srcOrd="2" destOrd="0" parTransId="{D1C319F9-7FAD-4A37-B9C3-8301733FFE1B}" sibTransId="{31C6668E-BF87-4E1E-90DE-4D5446AF744C}"/>
    <dgm:cxn modelId="{97F41829-D45A-467A-A3CA-9769EA04D374}" type="presOf" srcId="{043AF321-81C0-4E41-8351-E11B28DA9F88}" destId="{2A85A19E-DA7A-4909-884B-4FA0F667FA1D}" srcOrd="0" destOrd="0" presId="urn:microsoft.com/office/officeart/2005/8/layout/lProcess3"/>
    <dgm:cxn modelId="{9713CC0A-A772-4911-85CB-C6EB881FF621}" srcId="{DEEFF01E-0A01-4263-BEE1-7ACE1232E73D}" destId="{DF8002F3-3CD4-440D-B6E2-0DE76974F8A7}" srcOrd="3" destOrd="0" parTransId="{D3192F5E-C9D9-416E-8384-ECC1FEE136C7}" sibTransId="{39B16C9C-346E-4938-8E16-274BE4E79BD1}"/>
    <dgm:cxn modelId="{25407BD3-8A7E-4437-91F0-BD1542541251}" type="presOf" srcId="{DEEFF01E-0A01-4263-BEE1-7ACE1232E73D}" destId="{B664486E-92E6-4055-91B5-332AAFD7E3E4}" srcOrd="0" destOrd="0" presId="urn:microsoft.com/office/officeart/2005/8/layout/lProcess3"/>
    <dgm:cxn modelId="{C7BD694A-FC7D-4D1E-B360-CBEF13DAE8D4}" srcId="{DD69BDC7-2EE2-469E-80FA-CFFB0344F064}" destId="{DA4EE90F-243E-424E-90B5-2FDA3617F2EA}" srcOrd="0" destOrd="0" parTransId="{37EDA838-B7C3-4A33-B5C6-8FFA2C25924C}" sibTransId="{286F450F-E71B-4826-8DCF-C81937E91FCB}"/>
    <dgm:cxn modelId="{58336354-2878-4CBF-B8A9-E57C3EC07BA4}" type="presOf" srcId="{C2A13C22-95A0-485C-AA1A-6233199E172F}" destId="{1EE5862D-2108-40CF-A410-CE90F34CF289}" srcOrd="0" destOrd="0" presId="urn:microsoft.com/office/officeart/2005/8/layout/lProcess3"/>
    <dgm:cxn modelId="{DB20AFF8-D433-4414-9ACC-73E418B6A900}" srcId="{DEEFF01E-0A01-4263-BEE1-7ACE1232E73D}" destId="{043AF321-81C0-4E41-8351-E11B28DA9F88}" srcOrd="7" destOrd="0" parTransId="{D81B2C7E-7739-4B05-8570-C1C0411B2125}" sibTransId="{BADE8D99-C796-4C68-B991-60AC7B8BCF59}"/>
    <dgm:cxn modelId="{4E09BFEF-53BE-4AD1-8031-01FDE63AA5C7}" srcId="{DEEFF01E-0A01-4263-BEE1-7ACE1232E73D}" destId="{C2C6E93F-80AD-4BB4-A962-0FB3A69FDEC1}" srcOrd="6" destOrd="0" parTransId="{FB19EAE4-4888-4ED5-B9DD-EE5B3796AC74}" sibTransId="{4CC4530E-29A3-4F19-BE33-D9DC59504725}"/>
    <dgm:cxn modelId="{92F001AA-061C-45C8-AF47-9C24E1C302A8}" srcId="{576E2BA8-ACBF-4479-B3F3-94CF3BC02561}" destId="{80CD576D-1331-462D-BE5A-05F8CA3ACE4A}" srcOrd="0" destOrd="0" parTransId="{E5C2D837-35F3-43D8-B72F-A559B69B628A}" sibTransId="{8079BE5F-E385-4274-A673-47A7088F8F19}"/>
    <dgm:cxn modelId="{0772C572-0174-4355-814B-4105231E869C}" srcId="{C2C6E93F-80AD-4BB4-A962-0FB3A69FDEC1}" destId="{C2A13C22-95A0-485C-AA1A-6233199E172F}" srcOrd="0" destOrd="0" parTransId="{80606E44-BB5E-413F-84C2-982B4D7633EE}" sibTransId="{84667E15-71BD-4A87-97EF-D586BBCDF70E}"/>
    <dgm:cxn modelId="{80C5A1E3-DC4D-4D37-990A-124C6E8C3A63}" srcId="{BD4AD878-3924-411A-B5E9-79FA0DDC5D4F}" destId="{8FB5480F-96C0-47C9-8376-9C66D2114799}" srcOrd="0" destOrd="0" parTransId="{3330E20D-2D63-4DDA-8D4B-FBCDFA7D58F0}" sibTransId="{5494D673-032B-4228-93C8-B93DEF7A9735}"/>
    <dgm:cxn modelId="{8011DEB3-7576-4106-868F-FF76A08059A9}" srcId="{DEEFF01E-0A01-4263-BEE1-7ACE1232E73D}" destId="{BD4AD878-3924-411A-B5E9-79FA0DDC5D4F}" srcOrd="0" destOrd="0" parTransId="{2037084D-98A1-4322-ADB2-D2E631D0EDC6}" sibTransId="{1821BF2C-BDAE-4A6A-9C9A-661A71E2ACB4}"/>
    <dgm:cxn modelId="{6C02D912-32A7-4232-AC4E-0B8633E28949}" srcId="{181B87ED-908D-4965-9942-DF9665B61B95}" destId="{0C6FA87D-6DD1-48CF-9DB7-40EF71E333C5}" srcOrd="0" destOrd="0" parTransId="{13A955E2-09EF-4A7E-8882-9C372DD7793A}" sibTransId="{CD41EB3A-6F84-4AC9-B548-9A92A31E6EED}"/>
    <dgm:cxn modelId="{61BE64F5-45E3-441B-97BD-47604EBDA466}" srcId="{DEEFF01E-0A01-4263-BEE1-7ACE1232E73D}" destId="{DD69BDC7-2EE2-469E-80FA-CFFB0344F064}" srcOrd="5" destOrd="0" parTransId="{FB966EC2-BE7E-4FBC-BFA4-6BBB10D7D355}" sibTransId="{5245BB18-2499-46A9-8E56-ECF77F5463E8}"/>
    <dgm:cxn modelId="{8AA9CE07-D1C6-4C7D-9130-EF2199408258}" type="presOf" srcId="{01B9B187-672F-48A4-9856-B007AC28F104}" destId="{DFD41881-8EFC-4C14-9EA3-EECEA61C4A3A}" srcOrd="0" destOrd="0" presId="urn:microsoft.com/office/officeart/2005/8/layout/lProcess3"/>
    <dgm:cxn modelId="{0C61CF9F-8331-4B26-9D4C-CAAAD31041B5}" type="presOf" srcId="{8FB5480F-96C0-47C9-8376-9C66D2114799}" destId="{406083E2-06D6-4465-9CC8-2F99C152D27E}" srcOrd="0" destOrd="0" presId="urn:microsoft.com/office/officeart/2005/8/layout/lProcess3"/>
    <dgm:cxn modelId="{8E3B3C81-4605-4DF5-BDAB-6BC0AC8EB4DE}" srcId="{DF8002F3-3CD4-440D-B6E2-0DE76974F8A7}" destId="{5E6CD0B1-5B9B-47D6-BA1A-D5CF41FD7441}" srcOrd="0" destOrd="0" parTransId="{E6E2DFB7-E49E-4E8F-BB7A-2201CA0EB89D}" sibTransId="{9AACC6DE-C5FD-4C95-A125-5663D61692E6}"/>
    <dgm:cxn modelId="{6C09BBB7-D485-4879-8AF8-0716A50B6771}" type="presOf" srcId="{DD69BDC7-2EE2-469E-80FA-CFFB0344F064}" destId="{C4B26DE5-00B8-4094-B3F0-9EF442C3FF6A}" srcOrd="0" destOrd="0" presId="urn:microsoft.com/office/officeart/2005/8/layout/lProcess3"/>
    <dgm:cxn modelId="{AE7B2FE8-B8B0-42F9-BB6C-7569C8F519C4}" type="presOf" srcId="{C2C6E93F-80AD-4BB4-A962-0FB3A69FDEC1}" destId="{AC4B7371-C653-4DDB-82E6-5953FE90BFF4}" srcOrd="0" destOrd="0" presId="urn:microsoft.com/office/officeart/2005/8/layout/lProcess3"/>
    <dgm:cxn modelId="{CBED9707-105D-470A-9827-6D10B40DC014}" type="presOf" srcId="{BD4AD878-3924-411A-B5E9-79FA0DDC5D4F}" destId="{35C6C5AA-52D9-4A78-B68A-A9D809867AD4}" srcOrd="0" destOrd="0" presId="urn:microsoft.com/office/officeart/2005/8/layout/lProcess3"/>
    <dgm:cxn modelId="{63C4C7B5-9720-4BDF-9786-16D848B4CE25}" type="presParOf" srcId="{B664486E-92E6-4055-91B5-332AAFD7E3E4}" destId="{A54CD529-9E39-4A13-AEF7-38574C091E50}" srcOrd="0" destOrd="0" presId="urn:microsoft.com/office/officeart/2005/8/layout/lProcess3"/>
    <dgm:cxn modelId="{E0B9DDAE-8EA1-49FB-9095-A7214237CA54}" type="presParOf" srcId="{A54CD529-9E39-4A13-AEF7-38574C091E50}" destId="{35C6C5AA-52D9-4A78-B68A-A9D809867AD4}" srcOrd="0" destOrd="0" presId="urn:microsoft.com/office/officeart/2005/8/layout/lProcess3"/>
    <dgm:cxn modelId="{258ADBEB-F58D-401E-902D-320CD940728F}" type="presParOf" srcId="{A54CD529-9E39-4A13-AEF7-38574C091E50}" destId="{7B1EAEF9-A64C-4005-938C-9310FE204351}" srcOrd="1" destOrd="0" presId="urn:microsoft.com/office/officeart/2005/8/layout/lProcess3"/>
    <dgm:cxn modelId="{CA7E9A11-B63E-46AA-9D08-F5D08266C7C2}" type="presParOf" srcId="{A54CD529-9E39-4A13-AEF7-38574C091E50}" destId="{406083E2-06D6-4465-9CC8-2F99C152D27E}" srcOrd="2" destOrd="0" presId="urn:microsoft.com/office/officeart/2005/8/layout/lProcess3"/>
    <dgm:cxn modelId="{826C73EA-4CC0-4F55-AAF9-4D80F66BDD49}" type="presParOf" srcId="{B664486E-92E6-4055-91B5-332AAFD7E3E4}" destId="{DBDF03BD-13C6-4EA5-AC95-DD817C5806CD}" srcOrd="1" destOrd="0" presId="urn:microsoft.com/office/officeart/2005/8/layout/lProcess3"/>
    <dgm:cxn modelId="{1B629236-087D-4C58-8562-7BB1001D66E5}" type="presParOf" srcId="{B664486E-92E6-4055-91B5-332AAFD7E3E4}" destId="{9F9CA12E-8BB9-4153-94C4-58A0B83F2CC9}" srcOrd="2" destOrd="0" presId="urn:microsoft.com/office/officeart/2005/8/layout/lProcess3"/>
    <dgm:cxn modelId="{A9E23820-9307-43B0-B5AC-D78F342693BD}" type="presParOf" srcId="{9F9CA12E-8BB9-4153-94C4-58A0B83F2CC9}" destId="{19619D0B-2C47-4AE6-B21A-436E01728538}" srcOrd="0" destOrd="0" presId="urn:microsoft.com/office/officeart/2005/8/layout/lProcess3"/>
    <dgm:cxn modelId="{584893A8-3A18-4441-84F1-DACE6EC37A6D}" type="presParOf" srcId="{9F9CA12E-8BB9-4153-94C4-58A0B83F2CC9}" destId="{2218015A-862F-4E95-891F-8CE21AF3E703}" srcOrd="1" destOrd="0" presId="urn:microsoft.com/office/officeart/2005/8/layout/lProcess3"/>
    <dgm:cxn modelId="{5F3C5DA6-9D37-4084-A611-5274234177A2}" type="presParOf" srcId="{9F9CA12E-8BB9-4153-94C4-58A0B83F2CC9}" destId="{DFD41881-8EFC-4C14-9EA3-EECEA61C4A3A}" srcOrd="2" destOrd="0" presId="urn:microsoft.com/office/officeart/2005/8/layout/lProcess3"/>
    <dgm:cxn modelId="{D0402170-8BAB-48A9-88CA-1F8C3D76A963}" type="presParOf" srcId="{B664486E-92E6-4055-91B5-332AAFD7E3E4}" destId="{DCA6FE3E-8809-4787-BF59-2568DE258B12}" srcOrd="3" destOrd="0" presId="urn:microsoft.com/office/officeart/2005/8/layout/lProcess3"/>
    <dgm:cxn modelId="{F44EA22C-41F1-4199-9E19-F0CD39A914E6}" type="presParOf" srcId="{B664486E-92E6-4055-91B5-332AAFD7E3E4}" destId="{634ECB23-C909-497D-9143-C81B151898EE}" srcOrd="4" destOrd="0" presId="urn:microsoft.com/office/officeart/2005/8/layout/lProcess3"/>
    <dgm:cxn modelId="{ADF90500-B7C8-4DD8-BED8-66522476B070}" type="presParOf" srcId="{634ECB23-C909-497D-9143-C81B151898EE}" destId="{2EAA8D61-BA74-49FA-B182-D0E829830358}" srcOrd="0" destOrd="0" presId="urn:microsoft.com/office/officeart/2005/8/layout/lProcess3"/>
    <dgm:cxn modelId="{D76E319C-7222-4918-BDAF-2EFBB4674B1E}" type="presParOf" srcId="{634ECB23-C909-497D-9143-C81B151898EE}" destId="{C857D874-A425-4778-98EE-42A2D3541169}" srcOrd="1" destOrd="0" presId="urn:microsoft.com/office/officeart/2005/8/layout/lProcess3"/>
    <dgm:cxn modelId="{99D73D6C-9E51-423D-A18D-278407A8990C}" type="presParOf" srcId="{634ECB23-C909-497D-9143-C81B151898EE}" destId="{B6653B53-0C7A-43CC-82EB-78221EB7F72A}" srcOrd="2" destOrd="0" presId="urn:microsoft.com/office/officeart/2005/8/layout/lProcess3"/>
    <dgm:cxn modelId="{0E82F26B-45C0-4CC0-BFD7-CD682B32A8D5}" type="presParOf" srcId="{B664486E-92E6-4055-91B5-332AAFD7E3E4}" destId="{250B20DA-1D6E-4579-B4F1-7D26A00E153F}" srcOrd="5" destOrd="0" presId="urn:microsoft.com/office/officeart/2005/8/layout/lProcess3"/>
    <dgm:cxn modelId="{4C6C5566-7C9B-4E91-B2F6-518C0A98C607}" type="presParOf" srcId="{B664486E-92E6-4055-91B5-332AAFD7E3E4}" destId="{5DC4727A-C9A8-4E94-91B3-AE5ED6AB8220}" srcOrd="6" destOrd="0" presId="urn:microsoft.com/office/officeart/2005/8/layout/lProcess3"/>
    <dgm:cxn modelId="{C88F460E-6219-46E9-A375-8054FB77CD8C}" type="presParOf" srcId="{5DC4727A-C9A8-4E94-91B3-AE5ED6AB8220}" destId="{C7C59410-77F4-460D-A134-79241B0CEE06}" srcOrd="0" destOrd="0" presId="urn:microsoft.com/office/officeart/2005/8/layout/lProcess3"/>
    <dgm:cxn modelId="{01AD0880-F593-4D6C-B78A-4CACC0924669}" type="presParOf" srcId="{5DC4727A-C9A8-4E94-91B3-AE5ED6AB8220}" destId="{264B44B0-E588-4911-B8EE-1152D6AD7E73}" srcOrd="1" destOrd="0" presId="urn:microsoft.com/office/officeart/2005/8/layout/lProcess3"/>
    <dgm:cxn modelId="{1660EC52-6932-414D-8C2A-730A039971A6}" type="presParOf" srcId="{5DC4727A-C9A8-4E94-91B3-AE5ED6AB8220}" destId="{780B2F1A-27C7-4097-815F-1913D45E716C}" srcOrd="2" destOrd="0" presId="urn:microsoft.com/office/officeart/2005/8/layout/lProcess3"/>
    <dgm:cxn modelId="{4BCF263D-5003-420E-9FB3-DF9EF535E27F}" type="presParOf" srcId="{B664486E-92E6-4055-91B5-332AAFD7E3E4}" destId="{BD96CEFC-45CF-429A-9EDD-D3FDE10BED4A}" srcOrd="7" destOrd="0" presId="urn:microsoft.com/office/officeart/2005/8/layout/lProcess3"/>
    <dgm:cxn modelId="{FA375D63-7825-48AB-B814-266975D0C590}" type="presParOf" srcId="{B664486E-92E6-4055-91B5-332AAFD7E3E4}" destId="{F8344761-6B76-491C-A551-8C9195353304}" srcOrd="8" destOrd="0" presId="urn:microsoft.com/office/officeart/2005/8/layout/lProcess3"/>
    <dgm:cxn modelId="{6B093340-34E0-4AC2-ADF7-763C5D946F3F}" type="presParOf" srcId="{F8344761-6B76-491C-A551-8C9195353304}" destId="{11E5EE8B-EB71-47D7-A6EB-4AFF14F5559B}" srcOrd="0" destOrd="0" presId="urn:microsoft.com/office/officeart/2005/8/layout/lProcess3"/>
    <dgm:cxn modelId="{13F35AB9-DE46-461D-91CC-29EB5A9EE59C}" type="presParOf" srcId="{F8344761-6B76-491C-A551-8C9195353304}" destId="{E846ACF1-6306-4F45-8077-4DC2AFDE3920}" srcOrd="1" destOrd="0" presId="urn:microsoft.com/office/officeart/2005/8/layout/lProcess3"/>
    <dgm:cxn modelId="{E49A8229-B765-4850-B409-DE590523B68F}" type="presParOf" srcId="{F8344761-6B76-491C-A551-8C9195353304}" destId="{073A3499-5AE1-4A11-A19F-F22AF19983F9}" srcOrd="2" destOrd="0" presId="urn:microsoft.com/office/officeart/2005/8/layout/lProcess3"/>
    <dgm:cxn modelId="{CA419BD7-0A0C-43A1-8709-9F28D6583E51}" type="presParOf" srcId="{B664486E-92E6-4055-91B5-332AAFD7E3E4}" destId="{F8BA2AD1-9E73-4F9B-BA87-1F044C13FF81}" srcOrd="9" destOrd="0" presId="urn:microsoft.com/office/officeart/2005/8/layout/lProcess3"/>
    <dgm:cxn modelId="{7909512E-78A1-4B39-A595-CCCD5E19D1D4}" type="presParOf" srcId="{B664486E-92E6-4055-91B5-332AAFD7E3E4}" destId="{7B461008-7EAB-43B8-9BFA-65F55FEFD171}" srcOrd="10" destOrd="0" presId="urn:microsoft.com/office/officeart/2005/8/layout/lProcess3"/>
    <dgm:cxn modelId="{8CD427FD-D7E3-4EA0-993F-065605FAE196}" type="presParOf" srcId="{7B461008-7EAB-43B8-9BFA-65F55FEFD171}" destId="{C4B26DE5-00B8-4094-B3F0-9EF442C3FF6A}" srcOrd="0" destOrd="0" presId="urn:microsoft.com/office/officeart/2005/8/layout/lProcess3"/>
    <dgm:cxn modelId="{EEE4A8E4-786D-4259-AEA1-51031D61FABD}" type="presParOf" srcId="{7B461008-7EAB-43B8-9BFA-65F55FEFD171}" destId="{95E83FC1-1033-4DD0-8404-72E1935A4C9D}" srcOrd="1" destOrd="0" presId="urn:microsoft.com/office/officeart/2005/8/layout/lProcess3"/>
    <dgm:cxn modelId="{62F12DFB-B32A-445E-B776-96EE21BBE3AE}" type="presParOf" srcId="{7B461008-7EAB-43B8-9BFA-65F55FEFD171}" destId="{016FEF83-8785-441B-A8CF-CD6947CC749A}" srcOrd="2" destOrd="0" presId="urn:microsoft.com/office/officeart/2005/8/layout/lProcess3"/>
    <dgm:cxn modelId="{308B4E2C-E339-4E4B-A469-2D14BE618B71}" type="presParOf" srcId="{B664486E-92E6-4055-91B5-332AAFD7E3E4}" destId="{E0D68F4C-EDB4-4AA7-AD86-0FDAC7AECB64}" srcOrd="11" destOrd="0" presId="urn:microsoft.com/office/officeart/2005/8/layout/lProcess3"/>
    <dgm:cxn modelId="{D03EE627-0DF9-404C-9FF8-95A397B7C6D9}" type="presParOf" srcId="{B664486E-92E6-4055-91B5-332AAFD7E3E4}" destId="{FABC870C-2ABD-445A-918B-1EE6DF5309CE}" srcOrd="12" destOrd="0" presId="urn:microsoft.com/office/officeart/2005/8/layout/lProcess3"/>
    <dgm:cxn modelId="{31C1147F-5CFE-4B59-A663-A1C8B8E08C2B}" type="presParOf" srcId="{FABC870C-2ABD-445A-918B-1EE6DF5309CE}" destId="{AC4B7371-C653-4DDB-82E6-5953FE90BFF4}" srcOrd="0" destOrd="0" presId="urn:microsoft.com/office/officeart/2005/8/layout/lProcess3"/>
    <dgm:cxn modelId="{B861716A-880D-4E1C-BD81-8CDBD956F5EF}" type="presParOf" srcId="{FABC870C-2ABD-445A-918B-1EE6DF5309CE}" destId="{B1087800-5FB4-45BF-ADF9-402B36E70520}" srcOrd="1" destOrd="0" presId="urn:microsoft.com/office/officeart/2005/8/layout/lProcess3"/>
    <dgm:cxn modelId="{D80B7B79-3339-4069-9C30-C788C9A8E779}" type="presParOf" srcId="{FABC870C-2ABD-445A-918B-1EE6DF5309CE}" destId="{1EE5862D-2108-40CF-A410-CE90F34CF289}" srcOrd="2" destOrd="0" presId="urn:microsoft.com/office/officeart/2005/8/layout/lProcess3"/>
    <dgm:cxn modelId="{F5627692-741F-4ECA-9EBF-AF014D054527}" type="presParOf" srcId="{B664486E-92E6-4055-91B5-332AAFD7E3E4}" destId="{EEED2B6B-9F4D-4DED-A360-2E1ECC038F41}" srcOrd="13" destOrd="0" presId="urn:microsoft.com/office/officeart/2005/8/layout/lProcess3"/>
    <dgm:cxn modelId="{1CE71B37-06C9-46F8-B617-DDCB35B816AB}" type="presParOf" srcId="{B664486E-92E6-4055-91B5-332AAFD7E3E4}" destId="{87768461-B7BE-4086-9700-6B013AC0E1A5}" srcOrd="14" destOrd="0" presId="urn:microsoft.com/office/officeart/2005/8/layout/lProcess3"/>
    <dgm:cxn modelId="{70087CE6-7044-458E-939B-14AE924551B5}" type="presParOf" srcId="{87768461-B7BE-4086-9700-6B013AC0E1A5}" destId="{2A85A19E-DA7A-4909-884B-4FA0F667FA1D}" srcOrd="0" destOrd="0" presId="urn:microsoft.com/office/officeart/2005/8/layout/lProcess3"/>
    <dgm:cxn modelId="{7EBDFDB4-000E-4556-9002-1639A50B3BF3}" type="presParOf" srcId="{87768461-B7BE-4086-9700-6B013AC0E1A5}" destId="{F8D37972-926D-4D57-9395-F28450E2D9D9}" srcOrd="1" destOrd="0" presId="urn:microsoft.com/office/officeart/2005/8/layout/lProcess3"/>
    <dgm:cxn modelId="{64364B4E-A56B-4AA2-BBAF-0EF7C519A0F7}" type="presParOf" srcId="{87768461-B7BE-4086-9700-6B013AC0E1A5}" destId="{F6ED21A3-61E8-4589-9D89-CAB8EE2B5795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EEFF01E-0A01-4263-BEE1-7ACE1232E73D}" type="doc">
      <dgm:prSet loTypeId="urn:microsoft.com/office/officeart/2005/8/layout/lProcess3" loCatId="process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D4AD878-3924-411A-B5E9-79FA0DDC5D4F}">
      <dgm:prSet phldrT="[Testo]" custT="1"/>
      <dgm:spPr>
        <a:ln w="76200">
          <a:noFill/>
        </a:ln>
      </dgm:spPr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1</a:t>
          </a:r>
          <a:endParaRPr lang="en-US" sz="2000" b="1" dirty="0">
            <a:latin typeface="Arial" pitchFamily="34" charset="0"/>
            <a:cs typeface="Arial" pitchFamily="34" charset="0"/>
          </a:endParaRPr>
        </a:p>
      </dgm:t>
    </dgm:pt>
    <dgm:pt modelId="{2037084D-98A1-4322-ADB2-D2E631D0EDC6}" type="parTrans" cxnId="{8011DEB3-7576-4106-868F-FF76A08059A9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1821BF2C-BDAE-4A6A-9C9A-661A71E2ACB4}" type="sibTrans" cxnId="{8011DEB3-7576-4106-868F-FF76A08059A9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8FB5480F-96C0-47C9-8376-9C66D2114799}">
      <dgm:prSet phldrT="[Testo]" custT="1"/>
      <dgm:spPr>
        <a:ln w="57150">
          <a:noFill/>
        </a:ln>
      </dgm:spPr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Introduction to ISTQB</a:t>
          </a:r>
          <a:r>
            <a:rPr lang="en-US" sz="2000" baseline="30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®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3330E20D-2D63-4DDA-8D4B-FBCDFA7D58F0}" type="parTrans" cxnId="{80C5A1E3-DC4D-4D37-990A-124C6E8C3A63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5494D673-032B-4228-93C8-B93DEF7A9735}" type="sibTrans" cxnId="{80C5A1E3-DC4D-4D37-990A-124C6E8C3A63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EFF926B1-A344-412D-AD70-E1795BD51BEB}">
      <dgm:prSet phldrT="[Testo]"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2</a:t>
          </a:r>
          <a:endParaRPr lang="en-US" sz="2400" b="1" dirty="0">
            <a:latin typeface="Arial" pitchFamily="34" charset="0"/>
            <a:cs typeface="Arial" pitchFamily="34" charset="0"/>
          </a:endParaRPr>
        </a:p>
      </dgm:t>
    </dgm:pt>
    <dgm:pt modelId="{8B5C27AC-B98A-4B01-8DC8-EF3CC54C6596}" type="parTrans" cxnId="{49960886-BDB9-4E29-91DE-DE868FFC353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B986976C-C69A-4808-9339-9334A1378AE9}" type="sibTrans" cxnId="{49960886-BDB9-4E29-91DE-DE868FFC353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01B9B187-672F-48A4-9856-B007AC28F104}">
      <dgm:prSet phldrT="[Testo]"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cs typeface="Arial" pitchFamily="34" charset="0"/>
            </a:rPr>
            <a:t>Benefits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5532A88C-F2AC-4FEF-9EA8-48BF8A0B8B84}" type="parTrans" cxnId="{76874F7F-DF07-400F-87E4-E7106069833A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373BB746-3213-4D89-9D25-D16256F3CB55}" type="sibTrans" cxnId="{76874F7F-DF07-400F-87E4-E7106069833A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DF8002F3-3CD4-440D-B6E2-0DE76974F8A7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4</a:t>
          </a:r>
          <a:endParaRPr lang="en-US" sz="1800" b="1" dirty="0">
            <a:latin typeface="Arial" pitchFamily="34" charset="0"/>
            <a:cs typeface="Arial" pitchFamily="34" charset="0"/>
          </a:endParaRPr>
        </a:p>
      </dgm:t>
    </dgm:pt>
    <dgm:pt modelId="{D3192F5E-C9D9-416E-8384-ECC1FEE136C7}" type="parTrans" cxnId="{9713CC0A-A772-4911-85CB-C6EB881FF62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39B16C9C-346E-4938-8E16-274BE4E79BD1}" type="sibTrans" cxnId="{9713CC0A-A772-4911-85CB-C6EB881FF621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576E2BA8-ACBF-4479-B3F3-94CF3BC02561}">
      <dgm:prSet custT="1"/>
      <dgm:spPr>
        <a:ln w="76200">
          <a:solidFill>
            <a:schemeClr val="tx2"/>
          </a:solidFill>
        </a:ln>
      </dgm:spPr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5</a:t>
          </a:r>
          <a:endParaRPr lang="en-US" sz="2000" b="1" dirty="0">
            <a:latin typeface="Arial" pitchFamily="34" charset="0"/>
            <a:cs typeface="Arial" pitchFamily="34" charset="0"/>
          </a:endParaRPr>
        </a:p>
      </dgm:t>
    </dgm:pt>
    <dgm:pt modelId="{75B5195B-110E-4F6A-A062-11278D189147}" type="parTrans" cxnId="{B9A848E1-6386-48BA-93B7-E540A19D66E6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49034DBE-9B71-41D5-9BA2-9E92A537D4D1}" type="sibTrans" cxnId="{B9A848E1-6386-48BA-93B7-E540A19D66E6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043AF321-81C0-4E41-8351-E11B28DA9F88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8</a:t>
          </a:r>
          <a:endParaRPr lang="en-US" sz="1800" b="1" dirty="0">
            <a:latin typeface="Arial" pitchFamily="34" charset="0"/>
            <a:cs typeface="Arial" pitchFamily="34" charset="0"/>
          </a:endParaRPr>
        </a:p>
      </dgm:t>
    </dgm:pt>
    <dgm:pt modelId="{D81B2C7E-7739-4B05-8570-C1C0411B2125}" type="parTrans" cxnId="{DB20AFF8-D433-4414-9ACC-73E418B6A900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BADE8D99-C796-4C68-B991-60AC7B8BCF59}" type="sibTrans" cxnId="{DB20AFF8-D433-4414-9ACC-73E418B6A900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5E6CD0B1-5B9B-47D6-BA1A-D5CF41FD7441}">
      <dgm:prSet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cs typeface="Arial" pitchFamily="34" charset="0"/>
            </a:rPr>
            <a:t>Exams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E6E2DFB7-E49E-4E8F-BB7A-2201CA0EB89D}" type="parTrans" cxnId="{8E3B3C81-4605-4DF5-BDAB-6BC0AC8EB4DE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9AACC6DE-C5FD-4C95-A125-5663D61692E6}" type="sibTrans" cxnId="{8E3B3C81-4605-4DF5-BDAB-6BC0AC8EB4DE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C2A13C22-95A0-485C-AA1A-6233199E172F}">
      <dgm:prSet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Special Initiatives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80606E44-BB5E-413F-84C2-982B4D7633EE}" type="parTrans" cxnId="{0772C572-0174-4355-814B-4105231E869C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84667E15-71BD-4A87-97EF-D586BBCDF70E}" type="sibTrans" cxnId="{0772C572-0174-4355-814B-4105231E869C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8B64A5E0-43D9-4E72-BF0F-DE944D606CFA}">
      <dgm:prSet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Contacts</a:t>
          </a:r>
          <a:endParaRPr lang="en-US" sz="2000" dirty="0">
            <a:latin typeface="Arial" pitchFamily="34" charset="0"/>
            <a:cs typeface="Arial" pitchFamily="34" charset="0"/>
          </a:endParaRPr>
        </a:p>
      </dgm:t>
    </dgm:pt>
    <dgm:pt modelId="{183B8D0D-E8E1-4A17-8536-841B13F6E192}" type="parTrans" cxnId="{CD790DC2-849A-4979-B542-C607CC7BB8FF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C74A2261-81DA-40F1-80D4-16919C24AAD0}" type="sibTrans" cxnId="{CD790DC2-849A-4979-B542-C607CC7BB8FF}">
      <dgm:prSet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endParaRPr lang="en-US">
            <a:latin typeface="Arial" pitchFamily="34" charset="0"/>
            <a:cs typeface="Arial" pitchFamily="34" charset="0"/>
          </a:endParaRPr>
        </a:p>
      </dgm:t>
    </dgm:pt>
    <dgm:pt modelId="{181B87ED-908D-4965-9942-DF9665B61B95}">
      <dgm:prSet phldrT="[Testo]"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3</a:t>
          </a:r>
          <a:endParaRPr lang="en-US" sz="2800" b="1" dirty="0">
            <a:latin typeface="Arial" pitchFamily="34" charset="0"/>
            <a:cs typeface="Arial" pitchFamily="34" charset="0"/>
          </a:endParaRPr>
        </a:p>
      </dgm:t>
    </dgm:pt>
    <dgm:pt modelId="{D1C319F9-7FAD-4A37-B9C3-8301733FFE1B}" type="parTrans" cxnId="{734A44A2-46CA-403B-B6F7-CE22336E7F6D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31C6668E-BF87-4E1E-90DE-4D5446AF744C}" type="sibTrans" cxnId="{734A44A2-46CA-403B-B6F7-CE22336E7F6D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0C6FA87D-6DD1-48CF-9DB7-40EF71E333C5}">
      <dgm:prSet phldrT="[Testo]" custT="1"/>
      <dgm:spPr/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Syllabi and Extensions</a:t>
          </a:r>
          <a:endParaRPr lang="en-US" sz="200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gm:t>
    </dgm:pt>
    <dgm:pt modelId="{13A955E2-09EF-4A7E-8882-9C372DD7793A}" type="parTrans" cxnId="{6C02D912-32A7-4232-AC4E-0B8633E28949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CD41EB3A-6F84-4AC9-B548-9A92A31E6EED}" type="sibTrans" cxnId="{6C02D912-32A7-4232-AC4E-0B8633E28949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80CD576D-1331-462D-BE5A-05F8CA3ACE4A}">
      <dgm:prSet custT="1"/>
      <dgm:spPr>
        <a:ln w="57150">
          <a:solidFill>
            <a:schemeClr val="tx2">
              <a:alpha val="90000"/>
            </a:schemeClr>
          </a:solidFill>
        </a:ln>
      </dgm:spPr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ISTQB</a:t>
          </a:r>
          <a:r>
            <a:rPr lang="en-US" sz="2000" baseline="30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®</a:t>
          </a: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: Worldwide Footprint</a:t>
          </a:r>
          <a:endParaRPr lang="en-US" sz="200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gm:t>
    </dgm:pt>
    <dgm:pt modelId="{E5C2D837-35F3-43D8-B72F-A559B69B628A}" type="parTrans" cxnId="{92F001AA-061C-45C8-AF47-9C24E1C302A8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8079BE5F-E385-4274-A673-47A7088F8F19}" type="sibTrans" cxnId="{92F001AA-061C-45C8-AF47-9C24E1C302A8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C2C6E93F-80AD-4BB4-A962-0FB3A69FDEC1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cs typeface="Arial" pitchFamily="34" charset="0"/>
            </a:rPr>
            <a:t>7</a:t>
          </a:r>
          <a:endParaRPr lang="en-US" sz="2800" b="1" dirty="0">
            <a:latin typeface="Arial" pitchFamily="34" charset="0"/>
            <a:cs typeface="Arial" pitchFamily="34" charset="0"/>
          </a:endParaRPr>
        </a:p>
      </dgm:t>
    </dgm:pt>
    <dgm:pt modelId="{FB19EAE4-4888-4ED5-B9DD-EE5B3796AC74}" type="parTrans" cxnId="{4E09BFEF-53BE-4AD1-8031-01FDE63AA5C7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4CC4530E-29A3-4F19-BE33-D9DC59504725}" type="sibTrans" cxnId="{4E09BFEF-53BE-4AD1-8031-01FDE63AA5C7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DD69BDC7-2EE2-469E-80FA-CFFB0344F064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800" b="1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6</a:t>
          </a:r>
          <a:endParaRPr lang="en-US" sz="2800" b="1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gm:t>
    </dgm:pt>
    <dgm:pt modelId="{FB966EC2-BE7E-4FBC-BFA4-6BBB10D7D355}" type="parTrans" cxnId="{61BE64F5-45E3-441B-97BD-47604EBDA466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5245BB18-2499-46A9-8E56-ECF77F5463E8}" type="sibTrans" cxnId="{61BE64F5-45E3-441B-97BD-47604EBDA466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DA4EE90F-243E-424E-90B5-2FDA3617F2EA}">
      <dgm:prSet custT="1"/>
      <dgm:spPr/>
      <dgm:t>
        <a:bodyPr/>
        <a:lstStyle/>
        <a:p>
          <a:pPr>
            <a:spcBef>
              <a:spcPts val="0"/>
            </a:spcBef>
            <a:spcAft>
              <a:spcPts val="0"/>
            </a:spcAft>
          </a:pPr>
          <a:r>
            <a:rPr lang="en-US" sz="2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ISTQB</a:t>
          </a:r>
          <a:r>
            <a:rPr lang="en-US" sz="2000" baseline="30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® </a:t>
          </a:r>
          <a:r>
            <a:rPr lang="en-US" sz="2000" baseline="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Partner Program</a:t>
          </a:r>
          <a:endParaRPr lang="en-US" sz="2000" baseline="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gm:t>
    </dgm:pt>
    <dgm:pt modelId="{37EDA838-B7C3-4A33-B5C6-8FFA2C25924C}" type="parTrans" cxnId="{C7BD694A-FC7D-4D1E-B360-CBEF13DAE8D4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286F450F-E71B-4826-8DCF-C81937E91FCB}" type="sibTrans" cxnId="{C7BD694A-FC7D-4D1E-B360-CBEF13DAE8D4}">
      <dgm:prSet/>
      <dgm:spPr/>
      <dgm:t>
        <a:bodyPr/>
        <a:lstStyle/>
        <a:p>
          <a:endParaRPr lang="it-IT">
            <a:latin typeface="Arial" pitchFamily="34" charset="0"/>
            <a:cs typeface="Arial" pitchFamily="34" charset="0"/>
          </a:endParaRPr>
        </a:p>
      </dgm:t>
    </dgm:pt>
    <dgm:pt modelId="{B664486E-92E6-4055-91B5-332AAFD7E3E4}" type="pres">
      <dgm:prSet presAssocID="{DEEFF01E-0A01-4263-BEE1-7ACE1232E73D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54CD529-9E39-4A13-AEF7-38574C091E50}" type="pres">
      <dgm:prSet presAssocID="{BD4AD878-3924-411A-B5E9-79FA0DDC5D4F}" presName="horFlow" presStyleCnt="0"/>
      <dgm:spPr/>
    </dgm:pt>
    <dgm:pt modelId="{35C6C5AA-52D9-4A78-B68A-A9D809867AD4}" type="pres">
      <dgm:prSet presAssocID="{BD4AD878-3924-411A-B5E9-79FA0DDC5D4F}" presName="bigChev" presStyleLbl="node1" presStyleIdx="0" presStyleCnt="8"/>
      <dgm:spPr/>
      <dgm:t>
        <a:bodyPr/>
        <a:lstStyle/>
        <a:p>
          <a:endParaRPr lang="en-US"/>
        </a:p>
      </dgm:t>
    </dgm:pt>
    <dgm:pt modelId="{7B1EAEF9-A64C-4005-938C-9310FE204351}" type="pres">
      <dgm:prSet presAssocID="{3330E20D-2D63-4DDA-8D4B-FBCDFA7D58F0}" presName="parTrans" presStyleCnt="0"/>
      <dgm:spPr/>
    </dgm:pt>
    <dgm:pt modelId="{406083E2-06D6-4465-9CC8-2F99C152D27E}" type="pres">
      <dgm:prSet presAssocID="{8FB5480F-96C0-47C9-8376-9C66D2114799}" presName="node" presStyleLbl="alignAccFollowNode1" presStyleIdx="0" presStyleCnt="8" custScaleX="4515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DF03BD-13C6-4EA5-AC95-DD817C5806CD}" type="pres">
      <dgm:prSet presAssocID="{BD4AD878-3924-411A-B5E9-79FA0DDC5D4F}" presName="vSp" presStyleCnt="0"/>
      <dgm:spPr/>
    </dgm:pt>
    <dgm:pt modelId="{9F9CA12E-8BB9-4153-94C4-58A0B83F2CC9}" type="pres">
      <dgm:prSet presAssocID="{EFF926B1-A344-412D-AD70-E1795BD51BEB}" presName="horFlow" presStyleCnt="0"/>
      <dgm:spPr/>
    </dgm:pt>
    <dgm:pt modelId="{19619D0B-2C47-4AE6-B21A-436E01728538}" type="pres">
      <dgm:prSet presAssocID="{EFF926B1-A344-412D-AD70-E1795BD51BEB}" presName="bigChev" presStyleLbl="node1" presStyleIdx="1" presStyleCnt="8"/>
      <dgm:spPr/>
      <dgm:t>
        <a:bodyPr/>
        <a:lstStyle/>
        <a:p>
          <a:endParaRPr lang="en-US"/>
        </a:p>
      </dgm:t>
    </dgm:pt>
    <dgm:pt modelId="{2218015A-862F-4E95-891F-8CE21AF3E703}" type="pres">
      <dgm:prSet presAssocID="{5532A88C-F2AC-4FEF-9EA8-48BF8A0B8B84}" presName="parTrans" presStyleCnt="0"/>
      <dgm:spPr/>
    </dgm:pt>
    <dgm:pt modelId="{DFD41881-8EFC-4C14-9EA3-EECEA61C4A3A}" type="pres">
      <dgm:prSet presAssocID="{01B9B187-672F-48A4-9856-B007AC28F104}" presName="node" presStyleLbl="alignAccFollowNode1" presStyleIdx="1" presStyleCnt="8" custScaleX="45158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A6FE3E-8809-4787-BF59-2568DE258B12}" type="pres">
      <dgm:prSet presAssocID="{EFF926B1-A344-412D-AD70-E1795BD51BEB}" presName="vSp" presStyleCnt="0"/>
      <dgm:spPr/>
    </dgm:pt>
    <dgm:pt modelId="{634ECB23-C909-497D-9143-C81B151898EE}" type="pres">
      <dgm:prSet presAssocID="{181B87ED-908D-4965-9942-DF9665B61B95}" presName="horFlow" presStyleCnt="0"/>
      <dgm:spPr/>
    </dgm:pt>
    <dgm:pt modelId="{2EAA8D61-BA74-49FA-B182-D0E829830358}" type="pres">
      <dgm:prSet presAssocID="{181B87ED-908D-4965-9942-DF9665B61B95}" presName="bigChev" presStyleLbl="node1" presStyleIdx="2" presStyleCnt="8"/>
      <dgm:spPr/>
      <dgm:t>
        <a:bodyPr/>
        <a:lstStyle/>
        <a:p>
          <a:endParaRPr lang="it-IT"/>
        </a:p>
      </dgm:t>
    </dgm:pt>
    <dgm:pt modelId="{C857D874-A425-4778-98EE-42A2D3541169}" type="pres">
      <dgm:prSet presAssocID="{13A955E2-09EF-4A7E-8882-9C372DD7793A}" presName="parTrans" presStyleCnt="0"/>
      <dgm:spPr/>
    </dgm:pt>
    <dgm:pt modelId="{B6653B53-0C7A-43CC-82EB-78221EB7F72A}" type="pres">
      <dgm:prSet presAssocID="{0C6FA87D-6DD1-48CF-9DB7-40EF71E333C5}" presName="node" presStyleLbl="alignAccFollowNode1" presStyleIdx="2" presStyleCnt="8" custScaleX="45163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50B20DA-1D6E-4579-B4F1-7D26A00E153F}" type="pres">
      <dgm:prSet presAssocID="{181B87ED-908D-4965-9942-DF9665B61B95}" presName="vSp" presStyleCnt="0"/>
      <dgm:spPr/>
    </dgm:pt>
    <dgm:pt modelId="{5DC4727A-C9A8-4E94-91B3-AE5ED6AB8220}" type="pres">
      <dgm:prSet presAssocID="{DF8002F3-3CD4-440D-B6E2-0DE76974F8A7}" presName="horFlow" presStyleCnt="0"/>
      <dgm:spPr/>
    </dgm:pt>
    <dgm:pt modelId="{C7C59410-77F4-460D-A134-79241B0CEE06}" type="pres">
      <dgm:prSet presAssocID="{DF8002F3-3CD4-440D-B6E2-0DE76974F8A7}" presName="bigChev" presStyleLbl="node1" presStyleIdx="3" presStyleCnt="8"/>
      <dgm:spPr/>
      <dgm:t>
        <a:bodyPr/>
        <a:lstStyle/>
        <a:p>
          <a:endParaRPr lang="en-US"/>
        </a:p>
      </dgm:t>
    </dgm:pt>
    <dgm:pt modelId="{264B44B0-E588-4911-B8EE-1152D6AD7E73}" type="pres">
      <dgm:prSet presAssocID="{E6E2DFB7-E49E-4E8F-BB7A-2201CA0EB89D}" presName="parTrans" presStyleCnt="0"/>
      <dgm:spPr/>
    </dgm:pt>
    <dgm:pt modelId="{780B2F1A-27C7-4097-815F-1913D45E716C}" type="pres">
      <dgm:prSet presAssocID="{5E6CD0B1-5B9B-47D6-BA1A-D5CF41FD7441}" presName="node" presStyleLbl="alignAccFollowNode1" presStyleIdx="3" presStyleCnt="8" custScaleX="4515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96CEFC-45CF-429A-9EDD-D3FDE10BED4A}" type="pres">
      <dgm:prSet presAssocID="{DF8002F3-3CD4-440D-B6E2-0DE76974F8A7}" presName="vSp" presStyleCnt="0"/>
      <dgm:spPr/>
    </dgm:pt>
    <dgm:pt modelId="{F8344761-6B76-491C-A551-8C9195353304}" type="pres">
      <dgm:prSet presAssocID="{576E2BA8-ACBF-4479-B3F3-94CF3BC02561}" presName="horFlow" presStyleCnt="0"/>
      <dgm:spPr/>
    </dgm:pt>
    <dgm:pt modelId="{11E5EE8B-EB71-47D7-A6EB-4AFF14F5559B}" type="pres">
      <dgm:prSet presAssocID="{576E2BA8-ACBF-4479-B3F3-94CF3BC02561}" presName="bigChev" presStyleLbl="node1" presStyleIdx="4" presStyleCnt="8"/>
      <dgm:spPr/>
      <dgm:t>
        <a:bodyPr/>
        <a:lstStyle/>
        <a:p>
          <a:endParaRPr lang="en-US"/>
        </a:p>
      </dgm:t>
    </dgm:pt>
    <dgm:pt modelId="{E846ACF1-6306-4F45-8077-4DC2AFDE3920}" type="pres">
      <dgm:prSet presAssocID="{E5C2D837-35F3-43D8-B72F-A559B69B628A}" presName="parTrans" presStyleCnt="0"/>
      <dgm:spPr/>
    </dgm:pt>
    <dgm:pt modelId="{073A3499-5AE1-4A11-A19F-F22AF19983F9}" type="pres">
      <dgm:prSet presAssocID="{80CD576D-1331-462D-BE5A-05F8CA3ACE4A}" presName="node" presStyleLbl="alignAccFollowNode1" presStyleIdx="4" presStyleCnt="8" custScaleX="45163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8BA2AD1-9E73-4F9B-BA87-1F044C13FF81}" type="pres">
      <dgm:prSet presAssocID="{576E2BA8-ACBF-4479-B3F3-94CF3BC02561}" presName="vSp" presStyleCnt="0"/>
      <dgm:spPr/>
    </dgm:pt>
    <dgm:pt modelId="{7B461008-7EAB-43B8-9BFA-65F55FEFD171}" type="pres">
      <dgm:prSet presAssocID="{DD69BDC7-2EE2-469E-80FA-CFFB0344F064}" presName="horFlow" presStyleCnt="0"/>
      <dgm:spPr/>
    </dgm:pt>
    <dgm:pt modelId="{C4B26DE5-00B8-4094-B3F0-9EF442C3FF6A}" type="pres">
      <dgm:prSet presAssocID="{DD69BDC7-2EE2-469E-80FA-CFFB0344F064}" presName="bigChev" presStyleLbl="node1" presStyleIdx="5" presStyleCnt="8"/>
      <dgm:spPr/>
      <dgm:t>
        <a:bodyPr/>
        <a:lstStyle/>
        <a:p>
          <a:endParaRPr lang="it-IT"/>
        </a:p>
      </dgm:t>
    </dgm:pt>
    <dgm:pt modelId="{95E83FC1-1033-4DD0-8404-72E1935A4C9D}" type="pres">
      <dgm:prSet presAssocID="{37EDA838-B7C3-4A33-B5C6-8FFA2C25924C}" presName="parTrans" presStyleCnt="0"/>
      <dgm:spPr/>
    </dgm:pt>
    <dgm:pt modelId="{016FEF83-8785-441B-A8CF-CD6947CC749A}" type="pres">
      <dgm:prSet presAssocID="{DA4EE90F-243E-424E-90B5-2FDA3617F2EA}" presName="node" presStyleLbl="alignAccFollowNode1" presStyleIdx="5" presStyleCnt="8" custScaleX="45179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0D68F4C-EDB4-4AA7-AD86-0FDAC7AECB64}" type="pres">
      <dgm:prSet presAssocID="{DD69BDC7-2EE2-469E-80FA-CFFB0344F064}" presName="vSp" presStyleCnt="0"/>
      <dgm:spPr/>
    </dgm:pt>
    <dgm:pt modelId="{FABC870C-2ABD-445A-918B-1EE6DF5309CE}" type="pres">
      <dgm:prSet presAssocID="{C2C6E93F-80AD-4BB4-A962-0FB3A69FDEC1}" presName="horFlow" presStyleCnt="0"/>
      <dgm:spPr/>
    </dgm:pt>
    <dgm:pt modelId="{AC4B7371-C653-4DDB-82E6-5953FE90BFF4}" type="pres">
      <dgm:prSet presAssocID="{C2C6E93F-80AD-4BB4-A962-0FB3A69FDEC1}" presName="bigChev" presStyleLbl="node1" presStyleIdx="6" presStyleCnt="8"/>
      <dgm:spPr/>
      <dgm:t>
        <a:bodyPr/>
        <a:lstStyle/>
        <a:p>
          <a:endParaRPr lang="it-IT"/>
        </a:p>
      </dgm:t>
    </dgm:pt>
    <dgm:pt modelId="{B1087800-5FB4-45BF-ADF9-402B36E70520}" type="pres">
      <dgm:prSet presAssocID="{80606E44-BB5E-413F-84C2-982B4D7633EE}" presName="parTrans" presStyleCnt="0"/>
      <dgm:spPr/>
    </dgm:pt>
    <dgm:pt modelId="{1EE5862D-2108-40CF-A410-CE90F34CF289}" type="pres">
      <dgm:prSet presAssocID="{C2A13C22-95A0-485C-AA1A-6233199E172F}" presName="node" presStyleLbl="alignAccFollowNode1" presStyleIdx="6" presStyleCnt="8" custScaleX="4515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ED2B6B-9F4D-4DED-A360-2E1ECC038F41}" type="pres">
      <dgm:prSet presAssocID="{C2C6E93F-80AD-4BB4-A962-0FB3A69FDEC1}" presName="vSp" presStyleCnt="0"/>
      <dgm:spPr/>
    </dgm:pt>
    <dgm:pt modelId="{87768461-B7BE-4086-9700-6B013AC0E1A5}" type="pres">
      <dgm:prSet presAssocID="{043AF321-81C0-4E41-8351-E11B28DA9F88}" presName="horFlow" presStyleCnt="0"/>
      <dgm:spPr/>
    </dgm:pt>
    <dgm:pt modelId="{2A85A19E-DA7A-4909-884B-4FA0F667FA1D}" type="pres">
      <dgm:prSet presAssocID="{043AF321-81C0-4E41-8351-E11B28DA9F88}" presName="bigChev" presStyleLbl="node1" presStyleIdx="7" presStyleCnt="8"/>
      <dgm:spPr/>
      <dgm:t>
        <a:bodyPr/>
        <a:lstStyle/>
        <a:p>
          <a:endParaRPr lang="en-US"/>
        </a:p>
      </dgm:t>
    </dgm:pt>
    <dgm:pt modelId="{F8D37972-926D-4D57-9395-F28450E2D9D9}" type="pres">
      <dgm:prSet presAssocID="{183B8D0D-E8E1-4A17-8536-841B13F6E192}" presName="parTrans" presStyleCnt="0"/>
      <dgm:spPr/>
    </dgm:pt>
    <dgm:pt modelId="{F6ED21A3-61E8-4589-9D89-CAB8EE2B5795}" type="pres">
      <dgm:prSet presAssocID="{8B64A5E0-43D9-4E72-BF0F-DE944D606CFA}" presName="node" presStyleLbl="alignAccFollowNode1" presStyleIdx="7" presStyleCnt="8" custScaleX="4515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727BAE8-EF62-413F-B688-9C737AA24712}" type="presOf" srcId="{8FB5480F-96C0-47C9-8376-9C66D2114799}" destId="{406083E2-06D6-4465-9CC8-2F99C152D27E}" srcOrd="0" destOrd="0" presId="urn:microsoft.com/office/officeart/2005/8/layout/lProcess3"/>
    <dgm:cxn modelId="{CD790DC2-849A-4979-B542-C607CC7BB8FF}" srcId="{043AF321-81C0-4E41-8351-E11B28DA9F88}" destId="{8B64A5E0-43D9-4E72-BF0F-DE944D606CFA}" srcOrd="0" destOrd="0" parTransId="{183B8D0D-E8E1-4A17-8536-841B13F6E192}" sibTransId="{C74A2261-81DA-40F1-80D4-16919C24AAD0}"/>
    <dgm:cxn modelId="{2EC48188-A786-4AF5-B5C7-6A6ED1EDCAA7}" type="presOf" srcId="{BD4AD878-3924-411A-B5E9-79FA0DDC5D4F}" destId="{35C6C5AA-52D9-4A78-B68A-A9D809867AD4}" srcOrd="0" destOrd="0" presId="urn:microsoft.com/office/officeart/2005/8/layout/lProcess3"/>
    <dgm:cxn modelId="{B9A848E1-6386-48BA-93B7-E540A19D66E6}" srcId="{DEEFF01E-0A01-4263-BEE1-7ACE1232E73D}" destId="{576E2BA8-ACBF-4479-B3F3-94CF3BC02561}" srcOrd="4" destOrd="0" parTransId="{75B5195B-110E-4F6A-A062-11278D189147}" sibTransId="{49034DBE-9B71-41D5-9BA2-9E92A537D4D1}"/>
    <dgm:cxn modelId="{78A01EF3-FEA2-4903-8561-5C0DC826F77F}" type="presOf" srcId="{576E2BA8-ACBF-4479-B3F3-94CF3BC02561}" destId="{11E5EE8B-EB71-47D7-A6EB-4AFF14F5559B}" srcOrd="0" destOrd="0" presId="urn:microsoft.com/office/officeart/2005/8/layout/lProcess3"/>
    <dgm:cxn modelId="{AE59A6F3-C29D-4DAC-9521-7D6708EBEB90}" type="presOf" srcId="{0C6FA87D-6DD1-48CF-9DB7-40EF71E333C5}" destId="{B6653B53-0C7A-43CC-82EB-78221EB7F72A}" srcOrd="0" destOrd="0" presId="urn:microsoft.com/office/officeart/2005/8/layout/lProcess3"/>
    <dgm:cxn modelId="{A78538D3-A6A9-4EA3-8F3B-58735B9CBD0B}" type="presOf" srcId="{DD69BDC7-2EE2-469E-80FA-CFFB0344F064}" destId="{C4B26DE5-00B8-4094-B3F0-9EF442C3FF6A}" srcOrd="0" destOrd="0" presId="urn:microsoft.com/office/officeart/2005/8/layout/lProcess3"/>
    <dgm:cxn modelId="{8753A75D-E9AF-4D35-B037-800ABA09F1A1}" type="presOf" srcId="{181B87ED-908D-4965-9942-DF9665B61B95}" destId="{2EAA8D61-BA74-49FA-B182-D0E829830358}" srcOrd="0" destOrd="0" presId="urn:microsoft.com/office/officeart/2005/8/layout/lProcess3"/>
    <dgm:cxn modelId="{F7037AFC-3AA4-4DF6-B44A-AA2C3AEFD53F}" type="presOf" srcId="{DEEFF01E-0A01-4263-BEE1-7ACE1232E73D}" destId="{B664486E-92E6-4055-91B5-332AAFD7E3E4}" srcOrd="0" destOrd="0" presId="urn:microsoft.com/office/officeart/2005/8/layout/lProcess3"/>
    <dgm:cxn modelId="{49960886-BDB9-4E29-91DE-DE868FFC3531}" srcId="{DEEFF01E-0A01-4263-BEE1-7ACE1232E73D}" destId="{EFF926B1-A344-412D-AD70-E1795BD51BEB}" srcOrd="1" destOrd="0" parTransId="{8B5C27AC-B98A-4B01-8DC8-EF3CC54C6596}" sibTransId="{B986976C-C69A-4808-9339-9334A1378AE9}"/>
    <dgm:cxn modelId="{76874F7F-DF07-400F-87E4-E7106069833A}" srcId="{EFF926B1-A344-412D-AD70-E1795BD51BEB}" destId="{01B9B187-672F-48A4-9856-B007AC28F104}" srcOrd="0" destOrd="0" parTransId="{5532A88C-F2AC-4FEF-9EA8-48BF8A0B8B84}" sibTransId="{373BB746-3213-4D89-9D25-D16256F3CB55}"/>
    <dgm:cxn modelId="{AEED93CD-DEF6-458B-AAF8-48339CC7E990}" type="presOf" srcId="{DF8002F3-3CD4-440D-B6E2-0DE76974F8A7}" destId="{C7C59410-77F4-460D-A134-79241B0CEE06}" srcOrd="0" destOrd="0" presId="urn:microsoft.com/office/officeart/2005/8/layout/lProcess3"/>
    <dgm:cxn modelId="{734A44A2-46CA-403B-B6F7-CE22336E7F6D}" srcId="{DEEFF01E-0A01-4263-BEE1-7ACE1232E73D}" destId="{181B87ED-908D-4965-9942-DF9665B61B95}" srcOrd="2" destOrd="0" parTransId="{D1C319F9-7FAD-4A37-B9C3-8301733FFE1B}" sibTransId="{31C6668E-BF87-4E1E-90DE-4D5446AF744C}"/>
    <dgm:cxn modelId="{9713CC0A-A772-4911-85CB-C6EB881FF621}" srcId="{DEEFF01E-0A01-4263-BEE1-7ACE1232E73D}" destId="{DF8002F3-3CD4-440D-B6E2-0DE76974F8A7}" srcOrd="3" destOrd="0" parTransId="{D3192F5E-C9D9-416E-8384-ECC1FEE136C7}" sibTransId="{39B16C9C-346E-4938-8E16-274BE4E79BD1}"/>
    <dgm:cxn modelId="{ADDFBA00-4D1E-49AE-B802-061C3DC7406C}" type="presOf" srcId="{DA4EE90F-243E-424E-90B5-2FDA3617F2EA}" destId="{016FEF83-8785-441B-A8CF-CD6947CC749A}" srcOrd="0" destOrd="0" presId="urn:microsoft.com/office/officeart/2005/8/layout/lProcess3"/>
    <dgm:cxn modelId="{36ACB334-D24A-4877-A278-5B2DEA89F58B}" type="presOf" srcId="{C2C6E93F-80AD-4BB4-A962-0FB3A69FDEC1}" destId="{AC4B7371-C653-4DDB-82E6-5953FE90BFF4}" srcOrd="0" destOrd="0" presId="urn:microsoft.com/office/officeart/2005/8/layout/lProcess3"/>
    <dgm:cxn modelId="{17B5BA0D-492E-4ED5-8FC4-D0CD5838313F}" type="presOf" srcId="{EFF926B1-A344-412D-AD70-E1795BD51BEB}" destId="{19619D0B-2C47-4AE6-B21A-436E01728538}" srcOrd="0" destOrd="0" presId="urn:microsoft.com/office/officeart/2005/8/layout/lProcess3"/>
    <dgm:cxn modelId="{C7BD694A-FC7D-4D1E-B360-CBEF13DAE8D4}" srcId="{DD69BDC7-2EE2-469E-80FA-CFFB0344F064}" destId="{DA4EE90F-243E-424E-90B5-2FDA3617F2EA}" srcOrd="0" destOrd="0" parTransId="{37EDA838-B7C3-4A33-B5C6-8FFA2C25924C}" sibTransId="{286F450F-E71B-4826-8DCF-C81937E91FCB}"/>
    <dgm:cxn modelId="{DB20AFF8-D433-4414-9ACC-73E418B6A900}" srcId="{DEEFF01E-0A01-4263-BEE1-7ACE1232E73D}" destId="{043AF321-81C0-4E41-8351-E11B28DA9F88}" srcOrd="7" destOrd="0" parTransId="{D81B2C7E-7739-4B05-8570-C1C0411B2125}" sibTransId="{BADE8D99-C796-4C68-B991-60AC7B8BCF59}"/>
    <dgm:cxn modelId="{4E09BFEF-53BE-4AD1-8031-01FDE63AA5C7}" srcId="{DEEFF01E-0A01-4263-BEE1-7ACE1232E73D}" destId="{C2C6E93F-80AD-4BB4-A962-0FB3A69FDEC1}" srcOrd="6" destOrd="0" parTransId="{FB19EAE4-4888-4ED5-B9DD-EE5B3796AC74}" sibTransId="{4CC4530E-29A3-4F19-BE33-D9DC59504725}"/>
    <dgm:cxn modelId="{92F001AA-061C-45C8-AF47-9C24E1C302A8}" srcId="{576E2BA8-ACBF-4479-B3F3-94CF3BC02561}" destId="{80CD576D-1331-462D-BE5A-05F8CA3ACE4A}" srcOrd="0" destOrd="0" parTransId="{E5C2D837-35F3-43D8-B72F-A559B69B628A}" sibTransId="{8079BE5F-E385-4274-A673-47A7088F8F19}"/>
    <dgm:cxn modelId="{0772C572-0174-4355-814B-4105231E869C}" srcId="{C2C6E93F-80AD-4BB4-A962-0FB3A69FDEC1}" destId="{C2A13C22-95A0-485C-AA1A-6233199E172F}" srcOrd="0" destOrd="0" parTransId="{80606E44-BB5E-413F-84C2-982B4D7633EE}" sibTransId="{84667E15-71BD-4A87-97EF-D586BBCDF70E}"/>
    <dgm:cxn modelId="{80C5A1E3-DC4D-4D37-990A-124C6E8C3A63}" srcId="{BD4AD878-3924-411A-B5E9-79FA0DDC5D4F}" destId="{8FB5480F-96C0-47C9-8376-9C66D2114799}" srcOrd="0" destOrd="0" parTransId="{3330E20D-2D63-4DDA-8D4B-FBCDFA7D58F0}" sibTransId="{5494D673-032B-4228-93C8-B93DEF7A9735}"/>
    <dgm:cxn modelId="{9D4DF6E6-6F98-4EFE-B9D2-FB9E708BBC9E}" type="presOf" srcId="{C2A13C22-95A0-485C-AA1A-6233199E172F}" destId="{1EE5862D-2108-40CF-A410-CE90F34CF289}" srcOrd="0" destOrd="0" presId="urn:microsoft.com/office/officeart/2005/8/layout/lProcess3"/>
    <dgm:cxn modelId="{8011DEB3-7576-4106-868F-FF76A08059A9}" srcId="{DEEFF01E-0A01-4263-BEE1-7ACE1232E73D}" destId="{BD4AD878-3924-411A-B5E9-79FA0DDC5D4F}" srcOrd="0" destOrd="0" parTransId="{2037084D-98A1-4322-ADB2-D2E631D0EDC6}" sibTransId="{1821BF2C-BDAE-4A6A-9C9A-661A71E2ACB4}"/>
    <dgm:cxn modelId="{6C02D912-32A7-4232-AC4E-0B8633E28949}" srcId="{181B87ED-908D-4965-9942-DF9665B61B95}" destId="{0C6FA87D-6DD1-48CF-9DB7-40EF71E333C5}" srcOrd="0" destOrd="0" parTransId="{13A955E2-09EF-4A7E-8882-9C372DD7793A}" sibTransId="{CD41EB3A-6F84-4AC9-B548-9A92A31E6EED}"/>
    <dgm:cxn modelId="{61BE64F5-45E3-441B-97BD-47604EBDA466}" srcId="{DEEFF01E-0A01-4263-BEE1-7ACE1232E73D}" destId="{DD69BDC7-2EE2-469E-80FA-CFFB0344F064}" srcOrd="5" destOrd="0" parTransId="{FB966EC2-BE7E-4FBC-BFA4-6BBB10D7D355}" sibTransId="{5245BB18-2499-46A9-8E56-ECF77F5463E8}"/>
    <dgm:cxn modelId="{04A9B714-95FE-4183-84AB-F114011E094D}" type="presOf" srcId="{80CD576D-1331-462D-BE5A-05F8CA3ACE4A}" destId="{073A3499-5AE1-4A11-A19F-F22AF19983F9}" srcOrd="0" destOrd="0" presId="urn:microsoft.com/office/officeart/2005/8/layout/lProcess3"/>
    <dgm:cxn modelId="{2B155A40-76A3-4665-B9AD-23A270A41803}" type="presOf" srcId="{043AF321-81C0-4E41-8351-E11B28DA9F88}" destId="{2A85A19E-DA7A-4909-884B-4FA0F667FA1D}" srcOrd="0" destOrd="0" presId="urn:microsoft.com/office/officeart/2005/8/layout/lProcess3"/>
    <dgm:cxn modelId="{8E3B3C81-4605-4DF5-BDAB-6BC0AC8EB4DE}" srcId="{DF8002F3-3CD4-440D-B6E2-0DE76974F8A7}" destId="{5E6CD0B1-5B9B-47D6-BA1A-D5CF41FD7441}" srcOrd="0" destOrd="0" parTransId="{E6E2DFB7-E49E-4E8F-BB7A-2201CA0EB89D}" sibTransId="{9AACC6DE-C5FD-4C95-A125-5663D61692E6}"/>
    <dgm:cxn modelId="{A469A978-0F9D-43A5-82AA-33BCE49FC56A}" type="presOf" srcId="{5E6CD0B1-5B9B-47D6-BA1A-D5CF41FD7441}" destId="{780B2F1A-27C7-4097-815F-1913D45E716C}" srcOrd="0" destOrd="0" presId="urn:microsoft.com/office/officeart/2005/8/layout/lProcess3"/>
    <dgm:cxn modelId="{FEC5ECE1-DFDC-4F6B-BF79-A6CB3E9EBA99}" type="presOf" srcId="{01B9B187-672F-48A4-9856-B007AC28F104}" destId="{DFD41881-8EFC-4C14-9EA3-EECEA61C4A3A}" srcOrd="0" destOrd="0" presId="urn:microsoft.com/office/officeart/2005/8/layout/lProcess3"/>
    <dgm:cxn modelId="{2FFF40AC-14E1-4BF7-B85F-F707C128CAED}" type="presOf" srcId="{8B64A5E0-43D9-4E72-BF0F-DE944D606CFA}" destId="{F6ED21A3-61E8-4589-9D89-CAB8EE2B5795}" srcOrd="0" destOrd="0" presId="urn:microsoft.com/office/officeart/2005/8/layout/lProcess3"/>
    <dgm:cxn modelId="{F11172FF-E31E-4291-BC24-5D5DF41E9376}" type="presParOf" srcId="{B664486E-92E6-4055-91B5-332AAFD7E3E4}" destId="{A54CD529-9E39-4A13-AEF7-38574C091E50}" srcOrd="0" destOrd="0" presId="urn:microsoft.com/office/officeart/2005/8/layout/lProcess3"/>
    <dgm:cxn modelId="{9DC8F8E0-5848-4F22-B429-9A81F422F470}" type="presParOf" srcId="{A54CD529-9E39-4A13-AEF7-38574C091E50}" destId="{35C6C5AA-52D9-4A78-B68A-A9D809867AD4}" srcOrd="0" destOrd="0" presId="urn:microsoft.com/office/officeart/2005/8/layout/lProcess3"/>
    <dgm:cxn modelId="{00DAE8C0-C4B6-41AD-9513-709F8D75AC97}" type="presParOf" srcId="{A54CD529-9E39-4A13-AEF7-38574C091E50}" destId="{7B1EAEF9-A64C-4005-938C-9310FE204351}" srcOrd="1" destOrd="0" presId="urn:microsoft.com/office/officeart/2005/8/layout/lProcess3"/>
    <dgm:cxn modelId="{D3202F89-7842-4D67-870D-FD6085429B98}" type="presParOf" srcId="{A54CD529-9E39-4A13-AEF7-38574C091E50}" destId="{406083E2-06D6-4465-9CC8-2F99C152D27E}" srcOrd="2" destOrd="0" presId="urn:microsoft.com/office/officeart/2005/8/layout/lProcess3"/>
    <dgm:cxn modelId="{97A37930-B61E-45C7-8E38-0DB6CB8AA7A0}" type="presParOf" srcId="{B664486E-92E6-4055-91B5-332AAFD7E3E4}" destId="{DBDF03BD-13C6-4EA5-AC95-DD817C5806CD}" srcOrd="1" destOrd="0" presId="urn:microsoft.com/office/officeart/2005/8/layout/lProcess3"/>
    <dgm:cxn modelId="{76EB713D-C634-4758-9BD2-78E029D69BAE}" type="presParOf" srcId="{B664486E-92E6-4055-91B5-332AAFD7E3E4}" destId="{9F9CA12E-8BB9-4153-94C4-58A0B83F2CC9}" srcOrd="2" destOrd="0" presId="urn:microsoft.com/office/officeart/2005/8/layout/lProcess3"/>
    <dgm:cxn modelId="{2873C8D4-84F2-4222-BAFC-ED682C68EBDC}" type="presParOf" srcId="{9F9CA12E-8BB9-4153-94C4-58A0B83F2CC9}" destId="{19619D0B-2C47-4AE6-B21A-436E01728538}" srcOrd="0" destOrd="0" presId="urn:microsoft.com/office/officeart/2005/8/layout/lProcess3"/>
    <dgm:cxn modelId="{1BD57BC8-75D3-4D9E-B976-886AB834CADB}" type="presParOf" srcId="{9F9CA12E-8BB9-4153-94C4-58A0B83F2CC9}" destId="{2218015A-862F-4E95-891F-8CE21AF3E703}" srcOrd="1" destOrd="0" presId="urn:microsoft.com/office/officeart/2005/8/layout/lProcess3"/>
    <dgm:cxn modelId="{208D2FE9-9F77-47C8-813F-0F3935D80470}" type="presParOf" srcId="{9F9CA12E-8BB9-4153-94C4-58A0B83F2CC9}" destId="{DFD41881-8EFC-4C14-9EA3-EECEA61C4A3A}" srcOrd="2" destOrd="0" presId="urn:microsoft.com/office/officeart/2005/8/layout/lProcess3"/>
    <dgm:cxn modelId="{D4F4E823-8FC7-4255-9B91-063ED263E5D6}" type="presParOf" srcId="{B664486E-92E6-4055-91B5-332AAFD7E3E4}" destId="{DCA6FE3E-8809-4787-BF59-2568DE258B12}" srcOrd="3" destOrd="0" presId="urn:microsoft.com/office/officeart/2005/8/layout/lProcess3"/>
    <dgm:cxn modelId="{5990CE4A-CF70-4B73-ABE2-4FA31D661258}" type="presParOf" srcId="{B664486E-92E6-4055-91B5-332AAFD7E3E4}" destId="{634ECB23-C909-497D-9143-C81B151898EE}" srcOrd="4" destOrd="0" presId="urn:microsoft.com/office/officeart/2005/8/layout/lProcess3"/>
    <dgm:cxn modelId="{C717DDB4-20DD-4467-98E9-1AC0F91B17C0}" type="presParOf" srcId="{634ECB23-C909-497D-9143-C81B151898EE}" destId="{2EAA8D61-BA74-49FA-B182-D0E829830358}" srcOrd="0" destOrd="0" presId="urn:microsoft.com/office/officeart/2005/8/layout/lProcess3"/>
    <dgm:cxn modelId="{D414F04C-6A77-4DAE-B93E-57047079666D}" type="presParOf" srcId="{634ECB23-C909-497D-9143-C81B151898EE}" destId="{C857D874-A425-4778-98EE-42A2D3541169}" srcOrd="1" destOrd="0" presId="urn:microsoft.com/office/officeart/2005/8/layout/lProcess3"/>
    <dgm:cxn modelId="{63914EC2-9F32-4B73-A8A7-BE429199EB2E}" type="presParOf" srcId="{634ECB23-C909-497D-9143-C81B151898EE}" destId="{B6653B53-0C7A-43CC-82EB-78221EB7F72A}" srcOrd="2" destOrd="0" presId="urn:microsoft.com/office/officeart/2005/8/layout/lProcess3"/>
    <dgm:cxn modelId="{60C69C10-83F4-487F-8B23-19BBA386DDB2}" type="presParOf" srcId="{B664486E-92E6-4055-91B5-332AAFD7E3E4}" destId="{250B20DA-1D6E-4579-B4F1-7D26A00E153F}" srcOrd="5" destOrd="0" presId="urn:microsoft.com/office/officeart/2005/8/layout/lProcess3"/>
    <dgm:cxn modelId="{72191628-5F7E-4166-8D47-D23123F670DA}" type="presParOf" srcId="{B664486E-92E6-4055-91B5-332AAFD7E3E4}" destId="{5DC4727A-C9A8-4E94-91B3-AE5ED6AB8220}" srcOrd="6" destOrd="0" presId="urn:microsoft.com/office/officeart/2005/8/layout/lProcess3"/>
    <dgm:cxn modelId="{55987926-570A-4D17-B23F-C284AEAC3985}" type="presParOf" srcId="{5DC4727A-C9A8-4E94-91B3-AE5ED6AB8220}" destId="{C7C59410-77F4-460D-A134-79241B0CEE06}" srcOrd="0" destOrd="0" presId="urn:microsoft.com/office/officeart/2005/8/layout/lProcess3"/>
    <dgm:cxn modelId="{A8B7EC3F-B761-4BEB-A232-FF89EA793757}" type="presParOf" srcId="{5DC4727A-C9A8-4E94-91B3-AE5ED6AB8220}" destId="{264B44B0-E588-4911-B8EE-1152D6AD7E73}" srcOrd="1" destOrd="0" presId="urn:microsoft.com/office/officeart/2005/8/layout/lProcess3"/>
    <dgm:cxn modelId="{DED7F7DD-0BB4-4BDB-ADF6-05B3FF718E6C}" type="presParOf" srcId="{5DC4727A-C9A8-4E94-91B3-AE5ED6AB8220}" destId="{780B2F1A-27C7-4097-815F-1913D45E716C}" srcOrd="2" destOrd="0" presId="urn:microsoft.com/office/officeart/2005/8/layout/lProcess3"/>
    <dgm:cxn modelId="{B08A817F-D4AB-4893-AB54-F4BB89461DB0}" type="presParOf" srcId="{B664486E-92E6-4055-91B5-332AAFD7E3E4}" destId="{BD96CEFC-45CF-429A-9EDD-D3FDE10BED4A}" srcOrd="7" destOrd="0" presId="urn:microsoft.com/office/officeart/2005/8/layout/lProcess3"/>
    <dgm:cxn modelId="{EF807522-F223-46CF-BB69-0D69C980143A}" type="presParOf" srcId="{B664486E-92E6-4055-91B5-332AAFD7E3E4}" destId="{F8344761-6B76-491C-A551-8C9195353304}" srcOrd="8" destOrd="0" presId="urn:microsoft.com/office/officeart/2005/8/layout/lProcess3"/>
    <dgm:cxn modelId="{6612A50D-770B-4A47-BFFD-B07626B640E6}" type="presParOf" srcId="{F8344761-6B76-491C-A551-8C9195353304}" destId="{11E5EE8B-EB71-47D7-A6EB-4AFF14F5559B}" srcOrd="0" destOrd="0" presId="urn:microsoft.com/office/officeart/2005/8/layout/lProcess3"/>
    <dgm:cxn modelId="{6A8532A3-C04D-4544-ADBA-64E0D04CCCF1}" type="presParOf" srcId="{F8344761-6B76-491C-A551-8C9195353304}" destId="{E846ACF1-6306-4F45-8077-4DC2AFDE3920}" srcOrd="1" destOrd="0" presId="urn:microsoft.com/office/officeart/2005/8/layout/lProcess3"/>
    <dgm:cxn modelId="{EF4A0959-514B-4A91-B630-9EDF5877152B}" type="presParOf" srcId="{F8344761-6B76-491C-A551-8C9195353304}" destId="{073A3499-5AE1-4A11-A19F-F22AF19983F9}" srcOrd="2" destOrd="0" presId="urn:microsoft.com/office/officeart/2005/8/layout/lProcess3"/>
    <dgm:cxn modelId="{970BC402-D440-4656-A757-C7FD9A5F4998}" type="presParOf" srcId="{B664486E-92E6-4055-91B5-332AAFD7E3E4}" destId="{F8BA2AD1-9E73-4F9B-BA87-1F044C13FF81}" srcOrd="9" destOrd="0" presId="urn:microsoft.com/office/officeart/2005/8/layout/lProcess3"/>
    <dgm:cxn modelId="{8ED74088-9E2C-4A05-98CF-7EA87F00AA35}" type="presParOf" srcId="{B664486E-92E6-4055-91B5-332AAFD7E3E4}" destId="{7B461008-7EAB-43B8-9BFA-65F55FEFD171}" srcOrd="10" destOrd="0" presId="urn:microsoft.com/office/officeart/2005/8/layout/lProcess3"/>
    <dgm:cxn modelId="{44BB016D-F440-48F8-ABB0-AE9072C71C38}" type="presParOf" srcId="{7B461008-7EAB-43B8-9BFA-65F55FEFD171}" destId="{C4B26DE5-00B8-4094-B3F0-9EF442C3FF6A}" srcOrd="0" destOrd="0" presId="urn:microsoft.com/office/officeart/2005/8/layout/lProcess3"/>
    <dgm:cxn modelId="{9ADDABF2-0B35-43D9-8D3D-AF60C77EF232}" type="presParOf" srcId="{7B461008-7EAB-43B8-9BFA-65F55FEFD171}" destId="{95E83FC1-1033-4DD0-8404-72E1935A4C9D}" srcOrd="1" destOrd="0" presId="urn:microsoft.com/office/officeart/2005/8/layout/lProcess3"/>
    <dgm:cxn modelId="{8C6CE577-BBAD-4867-9778-B91640D43E35}" type="presParOf" srcId="{7B461008-7EAB-43B8-9BFA-65F55FEFD171}" destId="{016FEF83-8785-441B-A8CF-CD6947CC749A}" srcOrd="2" destOrd="0" presId="urn:microsoft.com/office/officeart/2005/8/layout/lProcess3"/>
    <dgm:cxn modelId="{5A6B6E01-492E-4817-9C34-D4D797B95FDE}" type="presParOf" srcId="{B664486E-92E6-4055-91B5-332AAFD7E3E4}" destId="{E0D68F4C-EDB4-4AA7-AD86-0FDAC7AECB64}" srcOrd="11" destOrd="0" presId="urn:microsoft.com/office/officeart/2005/8/layout/lProcess3"/>
    <dgm:cxn modelId="{C30431F7-A6DB-4FC2-9FCF-45BE45DF87F1}" type="presParOf" srcId="{B664486E-92E6-4055-91B5-332AAFD7E3E4}" destId="{FABC870C-2ABD-445A-918B-1EE6DF5309CE}" srcOrd="12" destOrd="0" presId="urn:microsoft.com/office/officeart/2005/8/layout/lProcess3"/>
    <dgm:cxn modelId="{FCAD5E65-FD7D-423E-A76A-ADE5688F9938}" type="presParOf" srcId="{FABC870C-2ABD-445A-918B-1EE6DF5309CE}" destId="{AC4B7371-C653-4DDB-82E6-5953FE90BFF4}" srcOrd="0" destOrd="0" presId="urn:microsoft.com/office/officeart/2005/8/layout/lProcess3"/>
    <dgm:cxn modelId="{BEFEB271-EAC4-486F-B1DE-64A05F463699}" type="presParOf" srcId="{FABC870C-2ABD-445A-918B-1EE6DF5309CE}" destId="{B1087800-5FB4-45BF-ADF9-402B36E70520}" srcOrd="1" destOrd="0" presId="urn:microsoft.com/office/officeart/2005/8/layout/lProcess3"/>
    <dgm:cxn modelId="{B0FEEC91-E3B8-47BE-9B0A-E8529ED22102}" type="presParOf" srcId="{FABC870C-2ABD-445A-918B-1EE6DF5309CE}" destId="{1EE5862D-2108-40CF-A410-CE90F34CF289}" srcOrd="2" destOrd="0" presId="urn:microsoft.com/office/officeart/2005/8/layout/lProcess3"/>
    <dgm:cxn modelId="{B7CFEBC5-696B-4EB9-9F74-B2EED67A6629}" type="presParOf" srcId="{B664486E-92E6-4055-91B5-332AAFD7E3E4}" destId="{EEED2B6B-9F4D-4DED-A360-2E1ECC038F41}" srcOrd="13" destOrd="0" presId="urn:microsoft.com/office/officeart/2005/8/layout/lProcess3"/>
    <dgm:cxn modelId="{0595C7B6-00F5-4288-AA72-DD0CC2D4227F}" type="presParOf" srcId="{B664486E-92E6-4055-91B5-332AAFD7E3E4}" destId="{87768461-B7BE-4086-9700-6B013AC0E1A5}" srcOrd="14" destOrd="0" presId="urn:microsoft.com/office/officeart/2005/8/layout/lProcess3"/>
    <dgm:cxn modelId="{D7954DD6-80CB-4E86-9C9D-173EEEE5DEC0}" type="presParOf" srcId="{87768461-B7BE-4086-9700-6B013AC0E1A5}" destId="{2A85A19E-DA7A-4909-884B-4FA0F667FA1D}" srcOrd="0" destOrd="0" presId="urn:microsoft.com/office/officeart/2005/8/layout/lProcess3"/>
    <dgm:cxn modelId="{D07E03D8-0F37-4DC1-B2AB-B2D9B4F7AB56}" type="presParOf" srcId="{87768461-B7BE-4086-9700-6B013AC0E1A5}" destId="{F8D37972-926D-4D57-9395-F28450E2D9D9}" srcOrd="1" destOrd="0" presId="urn:microsoft.com/office/officeart/2005/8/layout/lProcess3"/>
    <dgm:cxn modelId="{38C725BB-AA72-4C3D-A0C2-DA16995B51BF}" type="presParOf" srcId="{87768461-B7BE-4086-9700-6B013AC0E1A5}" destId="{F6ED21A3-61E8-4589-9D89-CAB8EE2B5795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6A710E-1C9F-4376-BA54-4DC92B08F2FA}">
      <dsp:nvSpPr>
        <dsp:cNvPr id="0" name=""/>
        <dsp:cNvSpPr/>
      </dsp:nvSpPr>
      <dsp:spPr>
        <a:xfrm>
          <a:off x="2898" y="1113"/>
          <a:ext cx="8059099" cy="1012577"/>
        </a:xfrm>
        <a:prstGeom prst="roundRect">
          <a:avLst>
            <a:gd name="adj" fmla="val 10000"/>
          </a:avLst>
        </a:prstGeom>
        <a:solidFill>
          <a:srgbClr val="00528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800" b="1" kern="1200" dirty="0" smtClean="0">
              <a:latin typeface="Arial" pitchFamily="34" charset="0"/>
              <a:cs typeface="Arial" pitchFamily="34" charset="0"/>
            </a:rPr>
            <a:t>TEST MANAGEMENT</a:t>
          </a:r>
          <a:endParaRPr lang="it-IT" sz="2800" b="1" kern="1200" dirty="0">
            <a:latin typeface="Arial" pitchFamily="34" charset="0"/>
            <a:cs typeface="Arial" pitchFamily="34" charset="0"/>
          </a:endParaRPr>
        </a:p>
      </dsp:txBody>
      <dsp:txXfrm>
        <a:off x="32555" y="30770"/>
        <a:ext cx="7999785" cy="953263"/>
      </dsp:txXfrm>
    </dsp:sp>
    <dsp:sp modelId="{2F18984F-3785-4363-A3FE-32C6B3248DB5}">
      <dsp:nvSpPr>
        <dsp:cNvPr id="0" name=""/>
        <dsp:cNvSpPr/>
      </dsp:nvSpPr>
      <dsp:spPr>
        <a:xfrm>
          <a:off x="2898" y="1218557"/>
          <a:ext cx="2543907" cy="1012577"/>
        </a:xfrm>
        <a:prstGeom prst="roundRect">
          <a:avLst>
            <a:gd name="adj" fmla="val 10000"/>
          </a:avLst>
        </a:prstGeom>
        <a:solidFill>
          <a:srgbClr val="D3124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>
              <a:latin typeface="Arial" pitchFamily="34" charset="0"/>
              <a:cs typeface="Arial" pitchFamily="34" charset="0"/>
            </a:rPr>
            <a:t>STRATEGIC TEST MANAGEMENT</a:t>
          </a:r>
          <a:endParaRPr lang="it-IT" sz="1800" b="1" kern="1200" dirty="0">
            <a:latin typeface="Arial" pitchFamily="34" charset="0"/>
            <a:cs typeface="Arial" pitchFamily="34" charset="0"/>
          </a:endParaRPr>
        </a:p>
      </dsp:txBody>
      <dsp:txXfrm>
        <a:off x="32555" y="1248214"/>
        <a:ext cx="2484593" cy="953263"/>
      </dsp:txXfrm>
    </dsp:sp>
    <dsp:sp modelId="{386D911D-E105-4754-B204-824C8FAF2BBA}">
      <dsp:nvSpPr>
        <dsp:cNvPr id="0" name=""/>
        <dsp:cNvSpPr/>
      </dsp:nvSpPr>
      <dsp:spPr>
        <a:xfrm>
          <a:off x="2760494" y="1218557"/>
          <a:ext cx="2543907" cy="1012577"/>
        </a:xfrm>
        <a:prstGeom prst="roundRect">
          <a:avLst>
            <a:gd name="adj" fmla="val 10000"/>
          </a:avLst>
        </a:prstGeom>
        <a:solidFill>
          <a:srgbClr val="D3124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smtClean="0">
              <a:latin typeface="Arial" pitchFamily="34" charset="0"/>
              <a:cs typeface="Arial" pitchFamily="34" charset="0"/>
            </a:rPr>
            <a:t>OPERATIONAL TEST MANAGEMENT</a:t>
          </a:r>
          <a:endParaRPr lang="it-IT" sz="1800" b="1" kern="1200" dirty="0">
            <a:latin typeface="Arial" pitchFamily="34" charset="0"/>
            <a:cs typeface="Arial" pitchFamily="34" charset="0"/>
          </a:endParaRPr>
        </a:p>
      </dsp:txBody>
      <dsp:txXfrm>
        <a:off x="2790151" y="1248214"/>
        <a:ext cx="2484593" cy="953263"/>
      </dsp:txXfrm>
    </dsp:sp>
    <dsp:sp modelId="{84235D2A-6EDE-4537-B482-7918B4268DB2}">
      <dsp:nvSpPr>
        <dsp:cNvPr id="0" name=""/>
        <dsp:cNvSpPr/>
      </dsp:nvSpPr>
      <dsp:spPr>
        <a:xfrm>
          <a:off x="5518090" y="1218557"/>
          <a:ext cx="2543907" cy="1012577"/>
        </a:xfrm>
        <a:prstGeom prst="roundRect">
          <a:avLst>
            <a:gd name="adj" fmla="val 10000"/>
          </a:avLst>
        </a:prstGeom>
        <a:solidFill>
          <a:srgbClr val="D3124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smtClean="0">
              <a:latin typeface="Arial" pitchFamily="34" charset="0"/>
              <a:cs typeface="Arial" pitchFamily="34" charset="0"/>
            </a:rPr>
            <a:t>MANAGING THE TEST TEAM</a:t>
          </a:r>
          <a:endParaRPr lang="it-IT" sz="1800" b="1" kern="1200" dirty="0">
            <a:latin typeface="Arial" pitchFamily="34" charset="0"/>
            <a:cs typeface="Arial" pitchFamily="34" charset="0"/>
          </a:endParaRPr>
        </a:p>
      </dsp:txBody>
      <dsp:txXfrm>
        <a:off x="5547747" y="1248214"/>
        <a:ext cx="2484593" cy="9532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2141CD-FCCA-4A4B-95DB-F4F7215124D8}">
      <dsp:nvSpPr>
        <dsp:cNvPr id="0" name=""/>
        <dsp:cNvSpPr/>
      </dsp:nvSpPr>
      <dsp:spPr>
        <a:xfrm>
          <a:off x="3003" y="1072"/>
          <a:ext cx="8130896" cy="1118936"/>
        </a:xfrm>
        <a:prstGeom prst="roundRect">
          <a:avLst>
            <a:gd name="adj" fmla="val 10000"/>
          </a:avLst>
        </a:prstGeom>
        <a:solidFill>
          <a:srgbClr val="005288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800" b="1" kern="1200" dirty="0" smtClean="0">
              <a:latin typeface="Arial" pitchFamily="34" charset="0"/>
              <a:cs typeface="Arial" pitchFamily="34" charset="0"/>
            </a:rPr>
            <a:t>IMPROVING THE TESTING PROCESS</a:t>
          </a:r>
          <a:endParaRPr lang="it-IT" sz="2800" b="1" kern="1200" dirty="0">
            <a:latin typeface="Arial" pitchFamily="34" charset="0"/>
            <a:cs typeface="Arial" pitchFamily="34" charset="0"/>
          </a:endParaRPr>
        </a:p>
      </dsp:txBody>
      <dsp:txXfrm>
        <a:off x="35776" y="33845"/>
        <a:ext cx="8065350" cy="1053390"/>
      </dsp:txXfrm>
    </dsp:sp>
    <dsp:sp modelId="{8ABF4DDB-0649-4AF3-B37B-0A70DD68A3DA}">
      <dsp:nvSpPr>
        <dsp:cNvPr id="0" name=""/>
        <dsp:cNvSpPr/>
      </dsp:nvSpPr>
      <dsp:spPr>
        <a:xfrm>
          <a:off x="3003" y="1328262"/>
          <a:ext cx="3901581" cy="1118936"/>
        </a:xfrm>
        <a:prstGeom prst="roundRect">
          <a:avLst>
            <a:gd name="adj" fmla="val 10000"/>
          </a:avLst>
        </a:prstGeom>
        <a:solidFill>
          <a:srgbClr val="D31245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>
              <a:latin typeface="Arial" pitchFamily="34" charset="0"/>
              <a:cs typeface="Arial" pitchFamily="34" charset="0"/>
            </a:rPr>
            <a:t>ASSESSING TEST PROCESSES</a:t>
          </a:r>
          <a:endParaRPr lang="it-IT" sz="1800" b="1" kern="1200" dirty="0">
            <a:solidFill>
              <a:srgbClr val="FFFF00"/>
            </a:solidFill>
            <a:latin typeface="Arial" pitchFamily="34" charset="0"/>
            <a:cs typeface="Arial" pitchFamily="34" charset="0"/>
          </a:endParaRPr>
        </a:p>
      </dsp:txBody>
      <dsp:txXfrm>
        <a:off x="35776" y="1361035"/>
        <a:ext cx="3836035" cy="1053390"/>
      </dsp:txXfrm>
    </dsp:sp>
    <dsp:sp modelId="{8169D59A-CA77-43E5-9140-C67B918632E1}">
      <dsp:nvSpPr>
        <dsp:cNvPr id="0" name=""/>
        <dsp:cNvSpPr/>
      </dsp:nvSpPr>
      <dsp:spPr>
        <a:xfrm>
          <a:off x="4232318" y="1329335"/>
          <a:ext cx="3901581" cy="1118936"/>
        </a:xfrm>
        <a:prstGeom prst="roundRect">
          <a:avLst>
            <a:gd name="adj" fmla="val 10000"/>
          </a:avLst>
        </a:prstGeom>
        <a:solidFill>
          <a:srgbClr val="D31245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itchFamily="34" charset="0"/>
              <a:cs typeface="Arial" pitchFamily="34" charset="0"/>
            </a:rPr>
            <a:t>IMPLEMENTING TEST PROCESS IMPROVEMENT</a:t>
          </a:r>
          <a:endParaRPr lang="it-IT" sz="1800" b="1" kern="1200" dirty="0">
            <a:latin typeface="Arial" pitchFamily="34" charset="0"/>
            <a:cs typeface="Arial" pitchFamily="34" charset="0"/>
          </a:endParaRPr>
        </a:p>
      </dsp:txBody>
      <dsp:txXfrm>
        <a:off x="4265091" y="1362108"/>
        <a:ext cx="3836035" cy="10533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C6C5AA-52D9-4A78-B68A-A9D809867AD4}">
      <dsp:nvSpPr>
        <dsp:cNvPr id="0" name=""/>
        <dsp:cNvSpPr/>
      </dsp:nvSpPr>
      <dsp:spPr>
        <a:xfrm>
          <a:off x="1003450" y="2583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76200"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1</a:t>
          </a:r>
          <a:endParaRPr lang="en-US" sz="2000" b="1" kern="1200" dirty="0">
            <a:latin typeface="Arial" pitchFamily="34" charset="0"/>
            <a:cs typeface="Arial" pitchFamily="34" charset="0"/>
          </a:endParaRPr>
        </a:p>
      </dsp:txBody>
      <dsp:txXfrm>
        <a:off x="1240767" y="2583"/>
        <a:ext cx="711951" cy="474633"/>
      </dsp:txXfrm>
    </dsp:sp>
    <dsp:sp modelId="{406083E2-06D6-4465-9CC8-2F99C152D27E}">
      <dsp:nvSpPr>
        <dsp:cNvPr id="0" name=""/>
        <dsp:cNvSpPr/>
      </dsp:nvSpPr>
      <dsp:spPr>
        <a:xfrm>
          <a:off x="2088232" y="42927"/>
          <a:ext cx="4447534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57150" cap="flat" cmpd="sng" algn="ctr">
          <a:noFill/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charset="0"/>
              <a:ea typeface="ＭＳ Ｐゴシック" pitchFamily="34" charset="-128"/>
            </a:rPr>
            <a:t>Introduction to ISTQB</a:t>
          </a:r>
          <a:r>
            <a:rPr lang="en-US" sz="2000" kern="1200" baseline="30000" dirty="0" smtClean="0">
              <a:latin typeface="Arial" charset="0"/>
              <a:ea typeface="ＭＳ Ｐゴシック" pitchFamily="34" charset="-128"/>
            </a:rPr>
            <a:t>®</a:t>
          </a:r>
          <a:endParaRPr lang="en-US" sz="2000" kern="1200" dirty="0"/>
        </a:p>
      </dsp:txBody>
      <dsp:txXfrm>
        <a:off x="2285205" y="42927"/>
        <a:ext cx="4053588" cy="393946"/>
      </dsp:txXfrm>
    </dsp:sp>
    <dsp:sp modelId="{19619D0B-2C47-4AE6-B21A-436E01728538}">
      <dsp:nvSpPr>
        <dsp:cNvPr id="0" name=""/>
        <dsp:cNvSpPr/>
      </dsp:nvSpPr>
      <dsp:spPr>
        <a:xfrm>
          <a:off x="1003450" y="543666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2</a:t>
          </a:r>
          <a:endParaRPr lang="en-US" sz="2400" b="1" kern="1200" dirty="0">
            <a:latin typeface="Arial" pitchFamily="34" charset="0"/>
            <a:cs typeface="Arial" pitchFamily="34" charset="0"/>
          </a:endParaRPr>
        </a:p>
      </dsp:txBody>
      <dsp:txXfrm>
        <a:off x="1240767" y="543666"/>
        <a:ext cx="711951" cy="474633"/>
      </dsp:txXfrm>
    </dsp:sp>
    <dsp:sp modelId="{DFD41881-8EFC-4C14-9EA3-EECEA61C4A3A}">
      <dsp:nvSpPr>
        <dsp:cNvPr id="0" name=""/>
        <dsp:cNvSpPr/>
      </dsp:nvSpPr>
      <dsp:spPr>
        <a:xfrm>
          <a:off x="2037599" y="1123200"/>
          <a:ext cx="4447534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charset="0"/>
              <a:ea typeface="ＭＳ Ｐゴシック" pitchFamily="34" charset="-128"/>
            </a:rPr>
            <a:t>Syllabi and </a:t>
          </a: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Extension</a:t>
          </a:r>
          <a:r>
            <a:rPr lang="en-US" sz="2000" kern="1200" dirty="0" smtClean="0">
              <a:latin typeface="Arial" charset="0"/>
              <a:ea typeface="ＭＳ Ｐゴシック" pitchFamily="34" charset="-128"/>
            </a:rPr>
            <a:t>s</a:t>
          </a:r>
          <a:endParaRPr lang="en-US" sz="2000" kern="1200" dirty="0"/>
        </a:p>
      </dsp:txBody>
      <dsp:txXfrm>
        <a:off x="2234572" y="1123200"/>
        <a:ext cx="4053588" cy="393946"/>
      </dsp:txXfrm>
    </dsp:sp>
    <dsp:sp modelId="{2EAA8D61-BA74-49FA-B182-D0E829830358}">
      <dsp:nvSpPr>
        <dsp:cNvPr id="0" name=""/>
        <dsp:cNvSpPr/>
      </dsp:nvSpPr>
      <dsp:spPr>
        <a:xfrm>
          <a:off x="1003450" y="1084748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3</a:t>
          </a:r>
          <a:endParaRPr lang="en-US" sz="2800" b="1" kern="1200" dirty="0">
            <a:latin typeface="Arial" pitchFamily="34" charset="0"/>
            <a:cs typeface="Arial" pitchFamily="34" charset="0"/>
          </a:endParaRPr>
        </a:p>
      </dsp:txBody>
      <dsp:txXfrm>
        <a:off x="1240767" y="1084748"/>
        <a:ext cx="711951" cy="474633"/>
      </dsp:txXfrm>
    </dsp:sp>
    <dsp:sp modelId="{B6653B53-0C7A-43CC-82EB-78221EB7F72A}">
      <dsp:nvSpPr>
        <dsp:cNvPr id="0" name=""/>
        <dsp:cNvSpPr/>
      </dsp:nvSpPr>
      <dsp:spPr>
        <a:xfrm>
          <a:off x="2035779" y="583200"/>
          <a:ext cx="4447948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charset="0"/>
              <a:ea typeface="ＭＳ Ｐゴシック" pitchFamily="34" charset="-128"/>
            </a:rPr>
            <a:t>Benefits</a:t>
          </a:r>
          <a:endParaRPr lang="en-US" sz="2000" kern="1200" dirty="0">
            <a:latin typeface="Arial" charset="0"/>
            <a:ea typeface="ＭＳ Ｐゴシック" pitchFamily="34" charset="-128"/>
          </a:endParaRPr>
        </a:p>
      </dsp:txBody>
      <dsp:txXfrm>
        <a:off x="2232752" y="583200"/>
        <a:ext cx="4054002" cy="393946"/>
      </dsp:txXfrm>
    </dsp:sp>
    <dsp:sp modelId="{C7C59410-77F4-460D-A134-79241B0CEE06}">
      <dsp:nvSpPr>
        <dsp:cNvPr id="0" name=""/>
        <dsp:cNvSpPr/>
      </dsp:nvSpPr>
      <dsp:spPr>
        <a:xfrm>
          <a:off x="1003450" y="1625831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76200">
          <a:solidFill>
            <a:schemeClr val="tx2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4</a:t>
          </a:r>
          <a:endParaRPr lang="en-US" sz="1800" b="1" kern="1200" dirty="0">
            <a:latin typeface="Arial" pitchFamily="34" charset="0"/>
            <a:cs typeface="Arial" pitchFamily="34" charset="0"/>
          </a:endParaRPr>
        </a:p>
      </dsp:txBody>
      <dsp:txXfrm>
        <a:off x="1240767" y="1625831"/>
        <a:ext cx="711951" cy="474633"/>
      </dsp:txXfrm>
    </dsp:sp>
    <dsp:sp modelId="{780B2F1A-27C7-4097-815F-1913D45E716C}">
      <dsp:nvSpPr>
        <dsp:cNvPr id="0" name=""/>
        <dsp:cNvSpPr/>
      </dsp:nvSpPr>
      <dsp:spPr>
        <a:xfrm>
          <a:off x="2070000" y="1675090"/>
          <a:ext cx="4446746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57150" cap="flat" cmpd="sng" algn="ctr">
          <a:solidFill>
            <a:schemeClr val="tx2">
              <a:alpha val="9000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anose="020B0604020202020204" pitchFamily="34" charset="0"/>
              <a:cs typeface="Arial" panose="020B0604020202020204" pitchFamily="34" charset="0"/>
            </a:rPr>
            <a:t>Exams</a:t>
          </a:r>
          <a:endParaRPr lang="en-US" sz="2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66973" y="1675090"/>
        <a:ext cx="4052800" cy="393946"/>
      </dsp:txXfrm>
    </dsp:sp>
    <dsp:sp modelId="{11E5EE8B-EB71-47D7-A6EB-4AFF14F5559B}">
      <dsp:nvSpPr>
        <dsp:cNvPr id="0" name=""/>
        <dsp:cNvSpPr/>
      </dsp:nvSpPr>
      <dsp:spPr>
        <a:xfrm>
          <a:off x="1003450" y="2166914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5</a:t>
          </a:r>
          <a:endParaRPr lang="en-US" sz="2000" b="1" kern="1200" dirty="0">
            <a:latin typeface="Arial" pitchFamily="34" charset="0"/>
            <a:cs typeface="Arial" pitchFamily="34" charset="0"/>
          </a:endParaRPr>
        </a:p>
      </dsp:txBody>
      <dsp:txXfrm>
        <a:off x="1240767" y="2166914"/>
        <a:ext cx="711951" cy="474633"/>
      </dsp:txXfrm>
    </dsp:sp>
    <dsp:sp modelId="{073A3499-5AE1-4A11-A19F-F22AF19983F9}">
      <dsp:nvSpPr>
        <dsp:cNvPr id="0" name=""/>
        <dsp:cNvSpPr/>
      </dsp:nvSpPr>
      <dsp:spPr>
        <a:xfrm>
          <a:off x="2035779" y="2207258"/>
          <a:ext cx="4447948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smtClean="0">
              <a:latin typeface="Arial" charset="0"/>
              <a:ea typeface="ＭＳ Ｐゴシック" pitchFamily="34" charset="-128"/>
            </a:rPr>
            <a:t>ISTQB</a:t>
          </a:r>
          <a:r>
            <a:rPr lang="en-US" sz="2000" kern="1200" baseline="30000" smtClean="0">
              <a:latin typeface="Arial" charset="0"/>
              <a:ea typeface="ＭＳ Ｐゴシック" pitchFamily="34" charset="-128"/>
            </a:rPr>
            <a:t>®</a:t>
          </a:r>
          <a:r>
            <a:rPr lang="en-US" sz="2000" kern="1200" smtClean="0">
              <a:latin typeface="Arial" charset="0"/>
              <a:ea typeface="ＭＳ Ｐゴシック" pitchFamily="34" charset="-128"/>
            </a:rPr>
            <a:t>: </a:t>
          </a:r>
          <a:r>
            <a:rPr lang="en-US" sz="2000" kern="1200" dirty="0" smtClean="0">
              <a:latin typeface="Arial" charset="0"/>
              <a:ea typeface="ＭＳ Ｐゴシック" pitchFamily="34" charset="-128"/>
            </a:rPr>
            <a:t>Worldwide Footprint</a:t>
          </a:r>
          <a:endParaRPr lang="en-US" sz="2000" kern="1200" dirty="0">
            <a:latin typeface="Arial" charset="0"/>
            <a:ea typeface="ＭＳ Ｐゴシック" pitchFamily="34" charset="-128"/>
          </a:endParaRPr>
        </a:p>
      </dsp:txBody>
      <dsp:txXfrm>
        <a:off x="2232752" y="2207258"/>
        <a:ext cx="4054002" cy="393946"/>
      </dsp:txXfrm>
    </dsp:sp>
    <dsp:sp modelId="{C4B26DE5-00B8-4094-B3F0-9EF442C3FF6A}">
      <dsp:nvSpPr>
        <dsp:cNvPr id="0" name=""/>
        <dsp:cNvSpPr/>
      </dsp:nvSpPr>
      <dsp:spPr>
        <a:xfrm>
          <a:off x="1003450" y="2707997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charset="0"/>
              <a:ea typeface="ＭＳ Ｐゴシック" pitchFamily="34" charset="-128"/>
            </a:rPr>
            <a:t>6</a:t>
          </a:r>
          <a:endParaRPr lang="en-US" sz="2800" b="1" kern="1200" dirty="0">
            <a:latin typeface="Arial" charset="0"/>
            <a:ea typeface="ＭＳ Ｐゴシック" pitchFamily="34" charset="-128"/>
          </a:endParaRPr>
        </a:p>
      </dsp:txBody>
      <dsp:txXfrm>
        <a:off x="1240767" y="2707997"/>
        <a:ext cx="711951" cy="474633"/>
      </dsp:txXfrm>
    </dsp:sp>
    <dsp:sp modelId="{016FEF83-8785-441B-A8CF-CD6947CC749A}">
      <dsp:nvSpPr>
        <dsp:cNvPr id="0" name=""/>
        <dsp:cNvSpPr/>
      </dsp:nvSpPr>
      <dsp:spPr>
        <a:xfrm>
          <a:off x="2035779" y="2748341"/>
          <a:ext cx="4449602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charset="0"/>
              <a:ea typeface="ＭＳ Ｐゴシック" pitchFamily="34" charset="-128"/>
            </a:rPr>
            <a:t>ISTQB</a:t>
          </a:r>
          <a:r>
            <a:rPr lang="en-US" sz="2000" kern="1200" baseline="30000" dirty="0" smtClean="0">
              <a:latin typeface="Arial" charset="0"/>
              <a:ea typeface="ＭＳ Ｐゴシック" pitchFamily="34" charset="-128"/>
            </a:rPr>
            <a:t>® </a:t>
          </a:r>
          <a:r>
            <a:rPr lang="en-US" sz="2000" kern="1200" baseline="0" dirty="0" smtClean="0">
              <a:latin typeface="Arial" charset="0"/>
              <a:ea typeface="ＭＳ Ｐゴシック" pitchFamily="34" charset="-128"/>
            </a:rPr>
            <a:t>Partner Program</a:t>
          </a:r>
          <a:endParaRPr lang="en-US" sz="2000" kern="1200" baseline="0" dirty="0">
            <a:latin typeface="Arial" charset="0"/>
            <a:ea typeface="ＭＳ Ｐゴシック" pitchFamily="34" charset="-128"/>
          </a:endParaRPr>
        </a:p>
      </dsp:txBody>
      <dsp:txXfrm>
        <a:off x="2232752" y="2748341"/>
        <a:ext cx="4055656" cy="393946"/>
      </dsp:txXfrm>
    </dsp:sp>
    <dsp:sp modelId="{AC4B7371-C653-4DDB-82E6-5953FE90BFF4}">
      <dsp:nvSpPr>
        <dsp:cNvPr id="0" name=""/>
        <dsp:cNvSpPr/>
      </dsp:nvSpPr>
      <dsp:spPr>
        <a:xfrm>
          <a:off x="1003450" y="3249079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7</a:t>
          </a:r>
          <a:endParaRPr lang="en-US" sz="2800" b="1" kern="1200" dirty="0">
            <a:latin typeface="Arial" pitchFamily="34" charset="0"/>
            <a:cs typeface="Arial" pitchFamily="34" charset="0"/>
          </a:endParaRPr>
        </a:p>
      </dsp:txBody>
      <dsp:txXfrm>
        <a:off x="1240767" y="3249079"/>
        <a:ext cx="711951" cy="474633"/>
      </dsp:txXfrm>
    </dsp:sp>
    <dsp:sp modelId="{1EE5862D-2108-40CF-A410-CE90F34CF289}">
      <dsp:nvSpPr>
        <dsp:cNvPr id="0" name=""/>
        <dsp:cNvSpPr/>
      </dsp:nvSpPr>
      <dsp:spPr>
        <a:xfrm>
          <a:off x="2035779" y="3289423"/>
          <a:ext cx="4446746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charset="0"/>
              <a:ea typeface="ＭＳ Ｐゴシック" pitchFamily="34" charset="-128"/>
            </a:rPr>
            <a:t>Special Initiatives</a:t>
          </a:r>
          <a:endParaRPr lang="en-US" sz="2000" kern="1200" dirty="0"/>
        </a:p>
      </dsp:txBody>
      <dsp:txXfrm>
        <a:off x="2232752" y="3289423"/>
        <a:ext cx="4052800" cy="393946"/>
      </dsp:txXfrm>
    </dsp:sp>
    <dsp:sp modelId="{2A85A19E-DA7A-4909-884B-4FA0F667FA1D}">
      <dsp:nvSpPr>
        <dsp:cNvPr id="0" name=""/>
        <dsp:cNvSpPr/>
      </dsp:nvSpPr>
      <dsp:spPr>
        <a:xfrm>
          <a:off x="1003450" y="3790162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8</a:t>
          </a:r>
          <a:endParaRPr lang="en-US" sz="1800" b="1" kern="1200" dirty="0">
            <a:latin typeface="Arial" pitchFamily="34" charset="0"/>
            <a:cs typeface="Arial" pitchFamily="34" charset="0"/>
          </a:endParaRPr>
        </a:p>
      </dsp:txBody>
      <dsp:txXfrm>
        <a:off x="1240767" y="3790162"/>
        <a:ext cx="711951" cy="474633"/>
      </dsp:txXfrm>
    </dsp:sp>
    <dsp:sp modelId="{F6ED21A3-61E8-4589-9D89-CAB8EE2B5795}">
      <dsp:nvSpPr>
        <dsp:cNvPr id="0" name=""/>
        <dsp:cNvSpPr/>
      </dsp:nvSpPr>
      <dsp:spPr>
        <a:xfrm>
          <a:off x="2035779" y="3830506"/>
          <a:ext cx="4446746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charset="0"/>
              <a:ea typeface="ＭＳ Ｐゴシック" pitchFamily="34" charset="-128"/>
            </a:rPr>
            <a:t>Contacts</a:t>
          </a:r>
          <a:endParaRPr lang="en-US" sz="2000" kern="1200" dirty="0"/>
        </a:p>
      </dsp:txBody>
      <dsp:txXfrm>
        <a:off x="2232752" y="3830506"/>
        <a:ext cx="4052800" cy="3939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C6C5AA-52D9-4A78-B68A-A9D809867AD4}">
      <dsp:nvSpPr>
        <dsp:cNvPr id="0" name=""/>
        <dsp:cNvSpPr/>
      </dsp:nvSpPr>
      <dsp:spPr>
        <a:xfrm>
          <a:off x="1003450" y="2583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76200"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1</a:t>
          </a:r>
          <a:endParaRPr lang="en-US" sz="2000" b="1" kern="1200" dirty="0">
            <a:latin typeface="Arial" pitchFamily="34" charset="0"/>
            <a:cs typeface="Arial" pitchFamily="34" charset="0"/>
          </a:endParaRPr>
        </a:p>
      </dsp:txBody>
      <dsp:txXfrm>
        <a:off x="1240767" y="2583"/>
        <a:ext cx="711951" cy="474633"/>
      </dsp:txXfrm>
    </dsp:sp>
    <dsp:sp modelId="{406083E2-06D6-4465-9CC8-2F99C152D27E}">
      <dsp:nvSpPr>
        <dsp:cNvPr id="0" name=""/>
        <dsp:cNvSpPr/>
      </dsp:nvSpPr>
      <dsp:spPr>
        <a:xfrm>
          <a:off x="2035779" y="42927"/>
          <a:ext cx="4447534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57150" cap="flat" cmpd="sng" algn="ctr">
          <a:noFill/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Introduction to ISTQB</a:t>
          </a:r>
          <a:r>
            <a:rPr lang="en-US" sz="2000" kern="1200" baseline="30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®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>
        <a:off x="2232752" y="42927"/>
        <a:ext cx="4053588" cy="393946"/>
      </dsp:txXfrm>
    </dsp:sp>
    <dsp:sp modelId="{19619D0B-2C47-4AE6-B21A-436E01728538}">
      <dsp:nvSpPr>
        <dsp:cNvPr id="0" name=""/>
        <dsp:cNvSpPr/>
      </dsp:nvSpPr>
      <dsp:spPr>
        <a:xfrm>
          <a:off x="1003450" y="543666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2</a:t>
          </a:r>
          <a:endParaRPr lang="en-US" sz="2400" b="1" kern="1200" dirty="0">
            <a:latin typeface="Arial" pitchFamily="34" charset="0"/>
            <a:cs typeface="Arial" pitchFamily="34" charset="0"/>
          </a:endParaRPr>
        </a:p>
      </dsp:txBody>
      <dsp:txXfrm>
        <a:off x="1240767" y="543666"/>
        <a:ext cx="711951" cy="474633"/>
      </dsp:txXfrm>
    </dsp:sp>
    <dsp:sp modelId="{DFD41881-8EFC-4C14-9EA3-EECEA61C4A3A}">
      <dsp:nvSpPr>
        <dsp:cNvPr id="0" name=""/>
        <dsp:cNvSpPr/>
      </dsp:nvSpPr>
      <dsp:spPr>
        <a:xfrm>
          <a:off x="2035779" y="584010"/>
          <a:ext cx="4447534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Benefits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>
        <a:off x="2232752" y="584010"/>
        <a:ext cx="4053588" cy="393946"/>
      </dsp:txXfrm>
    </dsp:sp>
    <dsp:sp modelId="{2EAA8D61-BA74-49FA-B182-D0E829830358}">
      <dsp:nvSpPr>
        <dsp:cNvPr id="0" name=""/>
        <dsp:cNvSpPr/>
      </dsp:nvSpPr>
      <dsp:spPr>
        <a:xfrm>
          <a:off x="1003450" y="1084748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3</a:t>
          </a:r>
          <a:endParaRPr lang="en-US" sz="2800" b="1" kern="1200" dirty="0">
            <a:latin typeface="Arial" pitchFamily="34" charset="0"/>
            <a:cs typeface="Arial" pitchFamily="34" charset="0"/>
          </a:endParaRPr>
        </a:p>
      </dsp:txBody>
      <dsp:txXfrm>
        <a:off x="1240767" y="1084748"/>
        <a:ext cx="711951" cy="474633"/>
      </dsp:txXfrm>
    </dsp:sp>
    <dsp:sp modelId="{B6653B53-0C7A-43CC-82EB-78221EB7F72A}">
      <dsp:nvSpPr>
        <dsp:cNvPr id="0" name=""/>
        <dsp:cNvSpPr/>
      </dsp:nvSpPr>
      <dsp:spPr>
        <a:xfrm>
          <a:off x="2035779" y="1125092"/>
          <a:ext cx="4447948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Syllabi and Extensions</a:t>
          </a:r>
          <a:endParaRPr lang="en-US" sz="2000" kern="120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sp:txBody>
      <dsp:txXfrm>
        <a:off x="2232752" y="1125092"/>
        <a:ext cx="4054002" cy="393946"/>
      </dsp:txXfrm>
    </dsp:sp>
    <dsp:sp modelId="{C7C59410-77F4-460D-A134-79241B0CEE06}">
      <dsp:nvSpPr>
        <dsp:cNvPr id="0" name=""/>
        <dsp:cNvSpPr/>
      </dsp:nvSpPr>
      <dsp:spPr>
        <a:xfrm>
          <a:off x="1003450" y="1625831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4</a:t>
          </a:r>
          <a:endParaRPr lang="en-US" sz="1800" b="1" kern="1200" dirty="0">
            <a:latin typeface="Arial" pitchFamily="34" charset="0"/>
            <a:cs typeface="Arial" pitchFamily="34" charset="0"/>
          </a:endParaRPr>
        </a:p>
      </dsp:txBody>
      <dsp:txXfrm>
        <a:off x="1240767" y="1625831"/>
        <a:ext cx="711951" cy="474633"/>
      </dsp:txXfrm>
    </dsp:sp>
    <dsp:sp modelId="{780B2F1A-27C7-4097-815F-1913D45E716C}">
      <dsp:nvSpPr>
        <dsp:cNvPr id="0" name=""/>
        <dsp:cNvSpPr/>
      </dsp:nvSpPr>
      <dsp:spPr>
        <a:xfrm>
          <a:off x="2035779" y="1666175"/>
          <a:ext cx="4446746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cs typeface="Arial" pitchFamily="34" charset="0"/>
            </a:rPr>
            <a:t>Exams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>
        <a:off x="2232752" y="1666175"/>
        <a:ext cx="4052800" cy="393946"/>
      </dsp:txXfrm>
    </dsp:sp>
    <dsp:sp modelId="{11E5EE8B-EB71-47D7-A6EB-4AFF14F5559B}">
      <dsp:nvSpPr>
        <dsp:cNvPr id="0" name=""/>
        <dsp:cNvSpPr/>
      </dsp:nvSpPr>
      <dsp:spPr>
        <a:xfrm>
          <a:off x="1003450" y="2166914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76200">
          <a:solidFill>
            <a:schemeClr val="tx2"/>
          </a:solidFill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5</a:t>
          </a:r>
          <a:endParaRPr lang="en-US" sz="2000" b="1" kern="1200" dirty="0">
            <a:latin typeface="Arial" pitchFamily="34" charset="0"/>
            <a:cs typeface="Arial" pitchFamily="34" charset="0"/>
          </a:endParaRPr>
        </a:p>
      </dsp:txBody>
      <dsp:txXfrm>
        <a:off x="1240767" y="2166914"/>
        <a:ext cx="711951" cy="474633"/>
      </dsp:txXfrm>
    </dsp:sp>
    <dsp:sp modelId="{073A3499-5AE1-4A11-A19F-F22AF19983F9}">
      <dsp:nvSpPr>
        <dsp:cNvPr id="0" name=""/>
        <dsp:cNvSpPr/>
      </dsp:nvSpPr>
      <dsp:spPr>
        <a:xfrm>
          <a:off x="2035779" y="2207258"/>
          <a:ext cx="4447948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57150" cap="flat" cmpd="sng" algn="ctr">
          <a:solidFill>
            <a:schemeClr val="tx2">
              <a:alpha val="9000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ISTQB</a:t>
          </a:r>
          <a:r>
            <a:rPr lang="en-US" sz="2000" kern="1200" baseline="30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®</a:t>
          </a: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: Worldwide Footprint</a:t>
          </a:r>
          <a:endParaRPr lang="en-US" sz="2000" kern="120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sp:txBody>
      <dsp:txXfrm>
        <a:off x="2232752" y="2207258"/>
        <a:ext cx="4054002" cy="393946"/>
      </dsp:txXfrm>
    </dsp:sp>
    <dsp:sp modelId="{C4B26DE5-00B8-4094-B3F0-9EF442C3FF6A}">
      <dsp:nvSpPr>
        <dsp:cNvPr id="0" name=""/>
        <dsp:cNvSpPr/>
      </dsp:nvSpPr>
      <dsp:spPr>
        <a:xfrm>
          <a:off x="1003450" y="2707997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6</a:t>
          </a:r>
          <a:endParaRPr lang="en-US" sz="2800" b="1" kern="120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sp:txBody>
      <dsp:txXfrm>
        <a:off x="1240767" y="2707997"/>
        <a:ext cx="711951" cy="474633"/>
      </dsp:txXfrm>
    </dsp:sp>
    <dsp:sp modelId="{016FEF83-8785-441B-A8CF-CD6947CC749A}">
      <dsp:nvSpPr>
        <dsp:cNvPr id="0" name=""/>
        <dsp:cNvSpPr/>
      </dsp:nvSpPr>
      <dsp:spPr>
        <a:xfrm>
          <a:off x="2035779" y="2748341"/>
          <a:ext cx="4449602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ISTQB</a:t>
          </a:r>
          <a:r>
            <a:rPr lang="en-US" sz="2000" kern="1200" baseline="300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® </a:t>
          </a:r>
          <a:r>
            <a:rPr lang="en-US" sz="2000" kern="1200" baseline="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Partner Program</a:t>
          </a:r>
          <a:endParaRPr lang="en-US" sz="2000" kern="1200" baseline="0" dirty="0">
            <a:latin typeface="Arial" pitchFamily="34" charset="0"/>
            <a:ea typeface="ＭＳ Ｐゴシック" pitchFamily="34" charset="-128"/>
            <a:cs typeface="Arial" pitchFamily="34" charset="0"/>
          </a:endParaRPr>
        </a:p>
      </dsp:txBody>
      <dsp:txXfrm>
        <a:off x="2232752" y="2748341"/>
        <a:ext cx="4055656" cy="393946"/>
      </dsp:txXfrm>
    </dsp:sp>
    <dsp:sp modelId="{AC4B7371-C653-4DDB-82E6-5953FE90BFF4}">
      <dsp:nvSpPr>
        <dsp:cNvPr id="0" name=""/>
        <dsp:cNvSpPr/>
      </dsp:nvSpPr>
      <dsp:spPr>
        <a:xfrm>
          <a:off x="1003450" y="3249079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7</a:t>
          </a:r>
          <a:endParaRPr lang="en-US" sz="2800" b="1" kern="1200" dirty="0">
            <a:latin typeface="Arial" pitchFamily="34" charset="0"/>
            <a:cs typeface="Arial" pitchFamily="34" charset="0"/>
          </a:endParaRPr>
        </a:p>
      </dsp:txBody>
      <dsp:txXfrm>
        <a:off x="1240767" y="3249079"/>
        <a:ext cx="711951" cy="474633"/>
      </dsp:txXfrm>
    </dsp:sp>
    <dsp:sp modelId="{1EE5862D-2108-40CF-A410-CE90F34CF289}">
      <dsp:nvSpPr>
        <dsp:cNvPr id="0" name=""/>
        <dsp:cNvSpPr/>
      </dsp:nvSpPr>
      <dsp:spPr>
        <a:xfrm>
          <a:off x="2035779" y="3289423"/>
          <a:ext cx="4446746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Special Initiatives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>
        <a:off x="2232752" y="3289423"/>
        <a:ext cx="4052800" cy="393946"/>
      </dsp:txXfrm>
    </dsp:sp>
    <dsp:sp modelId="{2A85A19E-DA7A-4909-884B-4FA0F667FA1D}">
      <dsp:nvSpPr>
        <dsp:cNvPr id="0" name=""/>
        <dsp:cNvSpPr/>
      </dsp:nvSpPr>
      <dsp:spPr>
        <a:xfrm>
          <a:off x="1003450" y="3790162"/>
          <a:ext cx="1186584" cy="47463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17780" rIns="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800" b="1" kern="1200" dirty="0" smtClean="0">
              <a:latin typeface="Arial" pitchFamily="34" charset="0"/>
              <a:cs typeface="Arial" pitchFamily="34" charset="0"/>
            </a:rPr>
            <a:t>8</a:t>
          </a:r>
          <a:endParaRPr lang="en-US" sz="1800" b="1" kern="1200" dirty="0">
            <a:latin typeface="Arial" pitchFamily="34" charset="0"/>
            <a:cs typeface="Arial" pitchFamily="34" charset="0"/>
          </a:endParaRPr>
        </a:p>
      </dsp:txBody>
      <dsp:txXfrm>
        <a:off x="1240767" y="3790162"/>
        <a:ext cx="711951" cy="474633"/>
      </dsp:txXfrm>
    </dsp:sp>
    <dsp:sp modelId="{F6ED21A3-61E8-4589-9D89-CAB8EE2B5795}">
      <dsp:nvSpPr>
        <dsp:cNvPr id="0" name=""/>
        <dsp:cNvSpPr/>
      </dsp:nvSpPr>
      <dsp:spPr>
        <a:xfrm>
          <a:off x="2035779" y="3830506"/>
          <a:ext cx="4446746" cy="393946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kern="1200" dirty="0" smtClean="0">
              <a:latin typeface="Arial" pitchFamily="34" charset="0"/>
              <a:ea typeface="ＭＳ Ｐゴシック" pitchFamily="34" charset="-128"/>
              <a:cs typeface="Arial" pitchFamily="34" charset="0"/>
            </a:rPr>
            <a:t>Contacts</a:t>
          </a:r>
          <a:endParaRPr lang="en-US" sz="2000" kern="1200" dirty="0">
            <a:latin typeface="Arial" pitchFamily="34" charset="0"/>
            <a:cs typeface="Arial" pitchFamily="34" charset="0"/>
          </a:endParaRPr>
        </a:p>
      </dsp:txBody>
      <dsp:txXfrm>
        <a:off x="2232752" y="3830506"/>
        <a:ext cx="4052800" cy="3939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D583CA-0D83-4042-99C3-FD1F8C706D75}" type="datetimeFigureOut">
              <a:rPr lang="en-US" smtClean="0"/>
              <a:t>19-11-18</a:t>
            </a:fld>
            <a:endParaRPr lang="en-US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B5130F-368D-4F37-851C-D415F63A9E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180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4962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9508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203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2150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CF4B8B6A-A87D-4440-B716-441C989D63DE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dirty="0" smtClean="0">
              <a:latin typeface="Showcard Gothic" pitchFamily="82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203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E14C05B0-BCE2-475E-A223-E0566986ED13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eaLnBrk="1" hangingPunct="1">
              <a:buFont typeface="+mj-lt"/>
              <a:buNone/>
            </a:pPr>
            <a:endParaRPr lang="it-IT" dirty="0" smtClean="0">
              <a:latin typeface="+mn-lt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203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1pPr>
            <a:lvl2pPr marL="702756" indent="-270291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2pPr>
            <a:lvl3pPr marL="1081164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3pPr>
            <a:lvl4pPr marL="1513629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4pPr>
            <a:lvl5pPr marL="1946095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5pPr>
            <a:lvl6pPr marL="2378560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6pPr>
            <a:lvl7pPr marL="2811026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7pPr>
            <a:lvl8pPr marL="3243491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8pPr>
            <a:lvl9pPr marL="3675957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DFD089FC-A191-4C1F-8696-3B72FA967F4C}" type="slidenum">
              <a:rPr lang="en-US" altLang="en-US" sz="1200"/>
              <a:pPr>
                <a:spcBef>
                  <a:spcPct val="0"/>
                </a:spcBef>
              </a:pPr>
              <a:t>19</a:t>
            </a:fld>
            <a:endParaRPr lang="en-US" altLang="en-US" sz="1200"/>
          </a:p>
        </p:txBody>
      </p:sp>
      <p:sp>
        <p:nvSpPr>
          <p:cNvPr id="12291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83320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1pPr>
            <a:lvl2pPr marL="702756" indent="-270291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2pPr>
            <a:lvl3pPr marL="1081164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3pPr>
            <a:lvl4pPr marL="1513629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4pPr>
            <a:lvl5pPr marL="1946095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5pPr>
            <a:lvl6pPr marL="2378560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6pPr>
            <a:lvl7pPr marL="2811026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7pPr>
            <a:lvl8pPr marL="3243491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8pPr>
            <a:lvl9pPr marL="3675957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2E7FB46C-7410-4503-BECD-F25183A18424}" type="slidenum">
              <a:rPr lang="en-US" altLang="en-US" sz="1200"/>
              <a:pPr>
                <a:spcBef>
                  <a:spcPct val="0"/>
                </a:spcBef>
              </a:pPr>
              <a:t>21</a:t>
            </a:fld>
            <a:endParaRPr lang="en-US" altLang="en-US" sz="1200"/>
          </a:p>
        </p:txBody>
      </p:sp>
      <p:sp>
        <p:nvSpPr>
          <p:cNvPr id="20483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1pPr>
            <a:lvl2pPr marL="702756" indent="-270291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2pPr>
            <a:lvl3pPr marL="1081164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3pPr>
            <a:lvl4pPr marL="1513629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4pPr>
            <a:lvl5pPr marL="1946095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5pPr>
            <a:lvl6pPr marL="2378560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6pPr>
            <a:lvl7pPr marL="2811026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7pPr>
            <a:lvl8pPr marL="3243491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8pPr>
            <a:lvl9pPr marL="3675957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DC60BD4B-A59D-4A2E-9E4D-CE4AF7425354}" type="slidenum">
              <a:rPr lang="en-US" altLang="en-US" sz="1200"/>
              <a:pPr>
                <a:spcBef>
                  <a:spcPct val="0"/>
                </a:spcBef>
              </a:pPr>
              <a:t>22</a:t>
            </a:fld>
            <a:endParaRPr lang="en-US" altLang="en-US" sz="1200"/>
          </a:p>
        </p:txBody>
      </p:sp>
      <p:sp>
        <p:nvSpPr>
          <p:cNvPr id="24579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1pPr>
            <a:lvl2pPr marL="702756" indent="-270291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2pPr>
            <a:lvl3pPr marL="1081164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3pPr>
            <a:lvl4pPr marL="1513629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4pPr>
            <a:lvl5pPr marL="1946095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5pPr>
            <a:lvl6pPr marL="2378560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6pPr>
            <a:lvl7pPr marL="2811026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7pPr>
            <a:lvl8pPr marL="3243491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8pPr>
            <a:lvl9pPr marL="3675957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03749A72-A361-4996-BED5-00566B9D4B4F}" type="slidenum">
              <a:rPr lang="en-US" altLang="en-US" sz="1200"/>
              <a:pPr>
                <a:spcBef>
                  <a:spcPct val="0"/>
                </a:spcBef>
              </a:pPr>
              <a:t>23</a:t>
            </a:fld>
            <a:endParaRPr lang="en-US" altLang="en-US" sz="1200"/>
          </a:p>
        </p:txBody>
      </p:sp>
      <p:sp>
        <p:nvSpPr>
          <p:cNvPr id="28675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1pPr>
            <a:lvl2pPr marL="702756" indent="-270291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2pPr>
            <a:lvl3pPr marL="1081164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3pPr>
            <a:lvl4pPr marL="1513629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4pPr>
            <a:lvl5pPr marL="1946095" indent="-216233">
              <a:spcBef>
                <a:spcPct val="30000"/>
              </a:spcBef>
              <a:defRPr sz="1100">
                <a:solidFill>
                  <a:schemeClr val="tx1"/>
                </a:solidFill>
                <a:latin typeface="Times New Roman" pitchFamily="18" charset="0"/>
              </a:defRPr>
            </a:lvl5pPr>
            <a:lvl6pPr marL="2378560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6pPr>
            <a:lvl7pPr marL="2811026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7pPr>
            <a:lvl8pPr marL="3243491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8pPr>
            <a:lvl9pPr marL="3675957" indent="-216233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9FA5D13F-BC56-4AED-8682-0C1F2449DC99}" type="slidenum">
              <a:rPr lang="en-US" altLang="en-US" sz="1200"/>
              <a:pPr>
                <a:spcBef>
                  <a:spcPct val="0"/>
                </a:spcBef>
              </a:pPr>
              <a:t>24</a:t>
            </a:fld>
            <a:endParaRPr lang="en-US" altLang="en-US" sz="1200"/>
          </a:p>
        </p:txBody>
      </p:sp>
      <p:sp>
        <p:nvSpPr>
          <p:cNvPr id="30723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2032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4F81BD"/>
              </a:buClr>
              <a:buSzPct val="70000"/>
              <a:buFont typeface="Monotype Sorts"/>
              <a:buNone/>
            </a:pPr>
            <a:fld id="{B3A67BA7-52E1-42A2-8A48-7B24793B843D}" type="slidenum">
              <a:rPr kumimoji="1" lang="en-GB" sz="1300">
                <a:solidFill>
                  <a:srgbClr val="1F497D"/>
                </a:solidFill>
              </a:rPr>
              <a:pPr eaLnBrk="1" hangingPunct="1">
                <a:spcBef>
                  <a:spcPct val="20000"/>
                </a:spcBef>
                <a:buClr>
                  <a:srgbClr val="4F81BD"/>
                </a:buClr>
                <a:buSzPct val="70000"/>
                <a:buFont typeface="Monotype Sorts"/>
                <a:buNone/>
              </a:pPr>
              <a:t>27</a:t>
            </a:fld>
            <a:endParaRPr kumimoji="1" lang="en-GB" sz="1300">
              <a:solidFill>
                <a:srgbClr val="1F497D"/>
              </a:solidFill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eaLnBrk="1" hangingPunct="1">
              <a:buFont typeface="+mj-lt"/>
              <a:buNone/>
            </a:pPr>
            <a:endParaRPr lang="en-AU" baseline="0" dirty="0" smtClean="0">
              <a:latin typeface="Tahoma" pitchFamily="34" charset="0"/>
              <a:ea typeface="ＭＳ Ｐゴシック" pitchFamily="34" charset="-128"/>
            </a:endParaRPr>
          </a:p>
          <a:p>
            <a:pPr marL="228600" indent="-228600" eaLnBrk="1" hangingPunct="1">
              <a:buFont typeface="+mj-lt"/>
              <a:buAutoNum type="arabicPeriod"/>
            </a:pPr>
            <a:endParaRPr lang="en-AU" baseline="0" dirty="0" smtClean="0">
              <a:latin typeface="Tahoma" pitchFamily="34" charset="0"/>
              <a:ea typeface="ＭＳ Ｐゴシック" pitchFamily="34" charset="-128"/>
            </a:endParaRPr>
          </a:p>
          <a:p>
            <a:pPr marL="228600" indent="-228600" eaLnBrk="1" hangingPunct="1">
              <a:buFont typeface="+mj-lt"/>
              <a:buAutoNum type="arabicPeriod"/>
            </a:pPr>
            <a:endParaRPr lang="en-AU" dirty="0" smtClean="0">
              <a:latin typeface="Tahoma" pitchFamily="34" charset="0"/>
              <a:ea typeface="ＭＳ Ｐゴシック" pitchFamily="34" charset="-128"/>
            </a:endParaRPr>
          </a:p>
          <a:p>
            <a:pPr marL="228600" indent="-228600" eaLnBrk="1" hangingPunct="1">
              <a:buFont typeface="+mj-lt"/>
              <a:buAutoNum type="arabicPeriod"/>
            </a:pPr>
            <a:endParaRPr lang="en-AU" dirty="0" smtClean="0">
              <a:latin typeface="Tahoma" pitchFamily="34" charset="0"/>
              <a:ea typeface="ＭＳ Ｐゴシック" pitchFamily="34" charset="-128"/>
            </a:endParaRPr>
          </a:p>
          <a:p>
            <a:pPr eaLnBrk="1" hangingPunct="1"/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4F81BD"/>
              </a:buClr>
              <a:buSzPct val="70000"/>
              <a:buFont typeface="Monotype Sorts"/>
              <a:buNone/>
            </a:pPr>
            <a:fld id="{613A4E75-B808-4B0C-B71A-6151A88E5603}" type="slidenum">
              <a:rPr kumimoji="1" lang="en-GB" sz="1300">
                <a:solidFill>
                  <a:srgbClr val="1F497D"/>
                </a:solidFill>
              </a:rPr>
              <a:pPr eaLnBrk="1" hangingPunct="1">
                <a:spcBef>
                  <a:spcPct val="20000"/>
                </a:spcBef>
                <a:buClr>
                  <a:srgbClr val="4F81BD"/>
                </a:buClr>
                <a:buSzPct val="70000"/>
                <a:buFont typeface="Monotype Sorts"/>
                <a:buNone/>
              </a:pPr>
              <a:t>28</a:t>
            </a:fld>
            <a:endParaRPr kumimoji="1" lang="en-GB" sz="1300">
              <a:solidFill>
                <a:srgbClr val="1F497D"/>
              </a:solidFill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eaLnBrk="1" hangingPunct="1">
              <a:buFont typeface="+mj-lt"/>
              <a:buNone/>
            </a:pPr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73138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7313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4F81BD"/>
              </a:buClr>
              <a:buSzPct val="70000"/>
              <a:buFont typeface="Monotype Sorts"/>
              <a:buNone/>
            </a:pPr>
            <a:fld id="{4C3726B7-255D-4F46-9194-E7DED9FEBBCB}" type="slidenum">
              <a:rPr kumimoji="1" lang="en-GB" sz="1300">
                <a:solidFill>
                  <a:srgbClr val="1F497D"/>
                </a:solidFill>
              </a:rPr>
              <a:pPr eaLnBrk="1" hangingPunct="1">
                <a:spcBef>
                  <a:spcPct val="20000"/>
                </a:spcBef>
                <a:buClr>
                  <a:srgbClr val="4F81BD"/>
                </a:buClr>
                <a:buSzPct val="70000"/>
                <a:buFont typeface="Monotype Sorts"/>
                <a:buNone/>
              </a:pPr>
              <a:t>29</a:t>
            </a:fld>
            <a:endParaRPr kumimoji="1" lang="en-GB" sz="1300">
              <a:solidFill>
                <a:srgbClr val="1F497D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eaLnBrk="1" hangingPunct="1">
              <a:buFont typeface="+mj-lt"/>
              <a:buNone/>
            </a:pPr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20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33446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4FA7F226-1E5F-4ADA-B425-583F9709FFF8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3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0902A523-F88A-449D-A2A5-35297862CC25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3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E819B515-7F8F-47E1-A209-D167E4B68DD7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3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AU" b="0" baseline="0" noProof="0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BF399301-0BF0-41CD-83A2-1CC7CB33476A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3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AU" b="0" baseline="0" noProof="0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981B67FB-093D-4731-87A2-E05D6FA85CAB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38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eaLnBrk="1" hangingPunct="1">
              <a:buFont typeface="+mj-lt"/>
              <a:buNone/>
            </a:pPr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C7E3E82B-C850-4E06-B31D-F13ED8F2309E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3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b="0" noProof="0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66725" algn="l"/>
                <a:tab pos="936625" algn="l"/>
                <a:tab pos="1406525" algn="l"/>
                <a:tab pos="1876425" algn="l"/>
                <a:tab pos="2346325" algn="l"/>
                <a:tab pos="2816225" algn="l"/>
                <a:tab pos="3286125" algn="l"/>
                <a:tab pos="3756025" algn="l"/>
                <a:tab pos="4225925" algn="l"/>
                <a:tab pos="4695825" algn="l"/>
                <a:tab pos="5165725" algn="l"/>
                <a:tab pos="5635625" algn="l"/>
                <a:tab pos="6105525" algn="l"/>
                <a:tab pos="6575425" algn="l"/>
                <a:tab pos="7043738" algn="l"/>
                <a:tab pos="7513638" algn="l"/>
                <a:tab pos="7983538" algn="l"/>
                <a:tab pos="8453438" algn="l"/>
                <a:tab pos="8923338" algn="l"/>
                <a:tab pos="9393238" algn="l"/>
              </a:tabLs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B02E489A-E639-4A65-A017-6CDC0EBA4775}" type="slidenum">
              <a:rPr lang="en-GB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4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89506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92032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84996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45975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2394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40979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29D5906E-6362-48C6-BF21-304967099BE0}" type="slidenum">
              <a:rPr lang="de-DE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48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73125" y="955675"/>
            <a:ext cx="4986338" cy="37417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8525" y="5132388"/>
            <a:ext cx="4938713" cy="36623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590" tIns="43795" rIns="87590" bIns="43795"/>
          <a:lstStyle/>
          <a:p>
            <a:endParaRPr lang="en-US" dirty="0" smtClean="0">
              <a:latin typeface="Tahoma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38339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8142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15084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dirty="0" smtClean="0"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837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Font typeface="Monotype Sorts"/>
              <a:buChar char="n"/>
            </a:pPr>
            <a:fld id="{A9F777B1-B66C-4503-B9A6-C0A755418E3A}" type="slidenum">
              <a:rPr lang="it-IT">
                <a:solidFill>
                  <a:prstClr val="black"/>
                </a:solidFill>
              </a:rPr>
              <a:pPr eaLnBrk="1" hangingPunct="1">
                <a:buFont typeface="Monotype Sorts"/>
                <a:buChar char="n"/>
              </a:pPr>
              <a:t>52</a:t>
            </a:fld>
            <a:endParaRPr lang="it-IT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313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413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413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B5130F-368D-4F37-851C-D415F63A9EE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365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6"/>
          <p:cNvSpPr/>
          <p:nvPr userDrawn="1"/>
        </p:nvSpPr>
        <p:spPr>
          <a:xfrm>
            <a:off x="0" y="2590800"/>
            <a:ext cx="9144000" cy="4267200"/>
          </a:xfrm>
          <a:prstGeom prst="rect">
            <a:avLst/>
          </a:prstGeom>
          <a:solidFill>
            <a:srgbClr val="00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cxnSp>
        <p:nvCxnSpPr>
          <p:cNvPr id="3" name="Gerade Verbindung 7"/>
          <p:cNvCxnSpPr/>
          <p:nvPr userDrawn="1"/>
        </p:nvCxnSpPr>
        <p:spPr>
          <a:xfrm>
            <a:off x="0" y="2590800"/>
            <a:ext cx="9144000" cy="1588"/>
          </a:xfrm>
          <a:prstGeom prst="line">
            <a:avLst/>
          </a:prstGeom>
          <a:ln>
            <a:solidFill>
              <a:srgbClr val="B105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Bild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438" y="673100"/>
            <a:ext cx="1981200" cy="130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egnaposto contenuto 6"/>
          <p:cNvSpPr>
            <a:spLocks noGrp="1"/>
          </p:cNvSpPr>
          <p:nvPr>
            <p:ph sz="quarter" idx="10"/>
          </p:nvPr>
        </p:nvSpPr>
        <p:spPr>
          <a:xfrm>
            <a:off x="899592" y="3068960"/>
            <a:ext cx="7488832" cy="33843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56249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 smtClean="0"/>
              <a:t>Fare clic sull'icona per inserire un'immagine</a:t>
            </a:r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F22FA1-BF14-45C8-BF39-32CC9D95D22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9481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E2FFA1-4B77-4DCD-ADD5-5388183F720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7422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B7144A-15A4-49BA-859A-5170DBD0BCE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088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5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ww.rbcs-us.com Copyright (c) </a:t>
            </a:r>
            <a:r>
              <a:rPr lang="en-US" smtClean="0"/>
              <a:t>RBCS 2014</a:t>
            </a:r>
            <a:endParaRPr lang="en-US"/>
          </a:p>
        </p:txBody>
      </p:sp>
      <p:sp>
        <p:nvSpPr>
          <p:cNvPr id="6" name="Rectangle 16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altLang="it-IT"/>
              <a:t>Page </a:t>
            </a:r>
            <a:fld id="{8F5BB8C1-596F-4AC0-9BFC-AE3DF58D7835}" type="slidenum">
              <a:rPr lang="en-US" altLang="it-IT"/>
              <a:pPr/>
              <a:t>‹#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8395403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6"/>
          <p:cNvSpPr/>
          <p:nvPr userDrawn="1"/>
        </p:nvSpPr>
        <p:spPr>
          <a:xfrm>
            <a:off x="0" y="2590800"/>
            <a:ext cx="9144000" cy="4267200"/>
          </a:xfrm>
          <a:prstGeom prst="rect">
            <a:avLst/>
          </a:prstGeom>
          <a:solidFill>
            <a:srgbClr val="00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cxnSp>
        <p:nvCxnSpPr>
          <p:cNvPr id="3" name="Gerade Verbindung 7"/>
          <p:cNvCxnSpPr/>
          <p:nvPr userDrawn="1"/>
        </p:nvCxnSpPr>
        <p:spPr>
          <a:xfrm>
            <a:off x="0" y="2590800"/>
            <a:ext cx="9144000" cy="1588"/>
          </a:xfrm>
          <a:prstGeom prst="line">
            <a:avLst/>
          </a:prstGeom>
          <a:ln>
            <a:solidFill>
              <a:srgbClr val="B105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Bild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438" y="673100"/>
            <a:ext cx="1981200" cy="130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egnaposto contenuto 6"/>
          <p:cNvSpPr>
            <a:spLocks noGrp="1"/>
          </p:cNvSpPr>
          <p:nvPr>
            <p:ph sz="quarter" idx="10"/>
          </p:nvPr>
        </p:nvSpPr>
        <p:spPr>
          <a:xfrm>
            <a:off x="899592" y="3068960"/>
            <a:ext cx="7488832" cy="3384376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690232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rgbClr val="00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5" name="Gerade Verbindung 7"/>
          <p:cNvCxnSpPr/>
          <p:nvPr userDrawn="1"/>
        </p:nvCxnSpPr>
        <p:spPr>
          <a:xfrm>
            <a:off x="0" y="1219200"/>
            <a:ext cx="9144000" cy="1588"/>
          </a:xfrm>
          <a:prstGeom prst="line">
            <a:avLst/>
          </a:prstGeom>
          <a:ln>
            <a:solidFill>
              <a:srgbClr val="B105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613" y="304800"/>
            <a:ext cx="1157287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0"/>
          <p:cNvSpPr txBox="1"/>
          <p:nvPr userDrawn="1"/>
        </p:nvSpPr>
        <p:spPr>
          <a:xfrm>
            <a:off x="7842250" y="6440488"/>
            <a:ext cx="996950" cy="230187"/>
          </a:xfrm>
          <a:prstGeom prst="rect">
            <a:avLst/>
          </a:prstGeom>
          <a:noFill/>
        </p:spPr>
        <p:txBody>
          <a:bodyPr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8DCA52F-94D0-49C5-8A81-3844F3BAD57B}" type="slidenum">
              <a:rPr lang="de-DE" sz="1200" smtClean="0">
                <a:solidFill>
                  <a:srgbClr val="595959"/>
                </a:solidFill>
              </a:rPr>
              <a:pPr algn="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200" smtClean="0">
              <a:solidFill>
                <a:srgbClr val="595959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>
            <a:lvl1pPr algn="l">
              <a:defRPr lang="it-IT" sz="2400" b="1" kern="12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95301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rgbClr val="00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5" name="Gerade Verbindung 7"/>
          <p:cNvCxnSpPr/>
          <p:nvPr userDrawn="1"/>
        </p:nvCxnSpPr>
        <p:spPr>
          <a:xfrm>
            <a:off x="0" y="1219200"/>
            <a:ext cx="9144000" cy="1588"/>
          </a:xfrm>
          <a:prstGeom prst="line">
            <a:avLst/>
          </a:prstGeom>
          <a:ln>
            <a:solidFill>
              <a:srgbClr val="B105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613" y="304800"/>
            <a:ext cx="1157287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0"/>
          <p:cNvSpPr txBox="1"/>
          <p:nvPr userDrawn="1"/>
        </p:nvSpPr>
        <p:spPr>
          <a:xfrm>
            <a:off x="7842250" y="6440488"/>
            <a:ext cx="996950" cy="230187"/>
          </a:xfrm>
          <a:prstGeom prst="rect">
            <a:avLst/>
          </a:prstGeom>
          <a:noFill/>
        </p:spPr>
        <p:txBody>
          <a:bodyPr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8DCA52F-94D0-49C5-8A81-3844F3BAD57B}" type="slidenum">
              <a:rPr lang="de-DE" sz="1200" smtClean="0">
                <a:solidFill>
                  <a:srgbClr val="595959"/>
                </a:solidFill>
              </a:rPr>
              <a:pPr algn="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200" smtClean="0">
              <a:solidFill>
                <a:srgbClr val="595959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>
            <a:lvl1pPr algn="l">
              <a:defRPr lang="it-IT" sz="2400" b="1" kern="12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9" name="Rechteck 13"/>
          <p:cNvSpPr/>
          <p:nvPr userDrawn="1"/>
        </p:nvSpPr>
        <p:spPr>
          <a:xfrm>
            <a:off x="6553200" y="1340768"/>
            <a:ext cx="2590800" cy="50243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5987008" cy="4525963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408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D501F-34DE-4760-AA17-C85781174E4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16439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AD1AB8-527A-44CE-B822-B54278D8559F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A0580B-CE9C-4BA5-AFC9-A315B7E069F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2797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FC143D-6DA6-4715-AEDC-DFCF692E495C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A00B83-E87D-491C-BA5D-F255925457F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5977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rgbClr val="00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5" name="Gerade Verbindung 7"/>
          <p:cNvCxnSpPr/>
          <p:nvPr userDrawn="1"/>
        </p:nvCxnSpPr>
        <p:spPr>
          <a:xfrm>
            <a:off x="0" y="1219200"/>
            <a:ext cx="9144000" cy="1588"/>
          </a:xfrm>
          <a:prstGeom prst="line">
            <a:avLst/>
          </a:prstGeom>
          <a:ln>
            <a:solidFill>
              <a:srgbClr val="B105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613" y="304800"/>
            <a:ext cx="1157287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0"/>
          <p:cNvSpPr txBox="1"/>
          <p:nvPr userDrawn="1"/>
        </p:nvSpPr>
        <p:spPr>
          <a:xfrm>
            <a:off x="7842250" y="6440488"/>
            <a:ext cx="996950" cy="230187"/>
          </a:xfrm>
          <a:prstGeom prst="rect">
            <a:avLst/>
          </a:prstGeom>
          <a:noFill/>
        </p:spPr>
        <p:txBody>
          <a:bodyPr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8DCA52F-94D0-49C5-8A81-3844F3BAD57B}" type="slidenum">
              <a:rPr lang="de-DE" sz="1200" smtClean="0">
                <a:solidFill>
                  <a:srgbClr val="595959"/>
                </a:solidFill>
              </a:rPr>
              <a:pPr algn="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200" smtClean="0">
              <a:solidFill>
                <a:srgbClr val="595959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>
            <a:lvl1pPr algn="l">
              <a:defRPr lang="it-IT" sz="2400" b="1" kern="12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252680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DC18F-4F4E-47DD-983B-26378F36DC45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24335-6AC2-413B-BB1C-68A72F34552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5962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3050F5-9750-4D49-88E3-0ADE616E0FFB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ED681C-DC20-4653-B4B5-C8E4EF9037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0113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1BC8DF-0F1E-4F42-84B9-C5D4E3142E78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F8728-F415-4EE1-9A2F-1421091547D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94798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FB7FCA-4814-4D60-823F-50249460C867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F22FA1-BF14-45C8-BF39-32CC9D95D22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0970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168DC0-F92D-4CD2-901A-8EE30E85FF1B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E2FFA1-4B77-4DCD-ADD5-5388183F720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2252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D2362D-AA6F-43E3-9946-D941E1EA7290}" type="datetime1">
              <a:rPr lang="de-DE"/>
              <a:pPr>
                <a:defRPr/>
              </a:pPr>
              <a:t>19-11-1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B7144A-15A4-49BA-859A-5170DBD0BCE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73321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14400" y="1600200"/>
            <a:ext cx="8280400" cy="4275138"/>
          </a:xfrm>
          <a:prstGeom prst="rect">
            <a:avLst/>
          </a:prstGeom>
        </p:spPr>
        <p:txBody>
          <a:bodyPr/>
          <a:lstStyle>
            <a:lvl1pPr marL="342900" indent="-342900">
              <a:buFontTx/>
              <a:buChar char="►"/>
              <a:defRPr/>
            </a:lvl1pPr>
            <a:lvl2pPr marL="742950" indent="-285750">
              <a:buFontTx/>
              <a:buChar char="►"/>
              <a:defRPr/>
            </a:lvl2pPr>
            <a:lvl3pPr marL="1143000" indent="-228600">
              <a:buFontTx/>
              <a:buChar char="►"/>
              <a:defRPr/>
            </a:lvl3pPr>
            <a:lvl4pPr marL="1600200" indent="-228600">
              <a:buFontTx/>
              <a:buChar char="►"/>
              <a:defRPr/>
            </a:lvl4pPr>
            <a:lvl5pPr marL="2057400" indent="-228600">
              <a:buFontTx/>
              <a:buChar char="►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fr-FR" dirty="0"/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10400" y="6307323"/>
            <a:ext cx="2133600" cy="276999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2EED8FF6-F707-4882-A9F9-3DE8CAA67CB6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7313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/>
          <p:nvPr userDrawn="1"/>
        </p:nvSpPr>
        <p:spPr>
          <a:xfrm>
            <a:off x="0" y="0"/>
            <a:ext cx="9144000" cy="1219200"/>
          </a:xfrm>
          <a:prstGeom prst="rect">
            <a:avLst/>
          </a:prstGeom>
          <a:solidFill>
            <a:srgbClr val="00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5" name="Gerade Verbindung 7"/>
          <p:cNvCxnSpPr/>
          <p:nvPr userDrawn="1"/>
        </p:nvCxnSpPr>
        <p:spPr>
          <a:xfrm>
            <a:off x="0" y="1219200"/>
            <a:ext cx="9144000" cy="1588"/>
          </a:xfrm>
          <a:prstGeom prst="line">
            <a:avLst/>
          </a:prstGeom>
          <a:ln>
            <a:solidFill>
              <a:srgbClr val="B105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613" y="304800"/>
            <a:ext cx="1157287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10"/>
          <p:cNvSpPr txBox="1"/>
          <p:nvPr userDrawn="1"/>
        </p:nvSpPr>
        <p:spPr>
          <a:xfrm>
            <a:off x="7842250" y="6440488"/>
            <a:ext cx="996950" cy="230187"/>
          </a:xfrm>
          <a:prstGeom prst="rect">
            <a:avLst/>
          </a:prstGeom>
          <a:noFill/>
        </p:spPr>
        <p:txBody>
          <a:bodyPr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8DCA52F-94D0-49C5-8A81-3844F3BAD57B}" type="slidenum">
              <a:rPr lang="de-DE" sz="1200" smtClean="0">
                <a:solidFill>
                  <a:srgbClr val="595959"/>
                </a:solidFill>
              </a:rPr>
              <a:pPr algn="r" defTabSz="4572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sz="1200" smtClean="0">
              <a:solidFill>
                <a:srgbClr val="595959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>
            <a:lvl1pPr algn="l">
              <a:defRPr lang="it-IT" sz="2400" b="1" kern="12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9" name="Rechteck 13"/>
          <p:cNvSpPr/>
          <p:nvPr userDrawn="1"/>
        </p:nvSpPr>
        <p:spPr>
          <a:xfrm>
            <a:off x="6553200" y="1340768"/>
            <a:ext cx="2590800" cy="50243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5987008" cy="4525963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8983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D501F-34DE-4760-AA17-C85781174E4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6144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A0580B-CE9C-4BA5-AFC9-A315B7E069F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6107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A00B83-E87D-491C-BA5D-F255925457F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94522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24335-6AC2-413B-BB1C-68A72F34552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2712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ED681C-DC20-4653-B4B5-C8E4EF9037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5369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4F8728-F415-4EE1-9A2F-1421091547D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7842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ea typeface="ＭＳ Ｐゴシック" pitchFamily="34" charset="-128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72624B11-10CE-47BD-9672-745AD0387ACE}" type="slidenum">
              <a:rPr lang="de-DE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492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3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9" r:id="rId13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ea typeface="ＭＳ Ｐゴシック" pitchFamily="34" charset="-128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72624B11-10CE-47BD-9672-745AD0387ACE}" type="slidenum">
              <a:rPr lang="de-DE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231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7" charset="-128"/>
          <a:cs typeface="ＭＳ Ｐゴシック" pitchFamily="-107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7" charset="0"/>
          <a:ea typeface="ＭＳ Ｐゴシック" pitchFamily="-107" charset="-128"/>
          <a:cs typeface="ＭＳ Ｐゴシック" pitchFamily="-10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-107" charset="-128"/>
          <a:cs typeface="ＭＳ Ｐゴシック" pitchFamily="-107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-107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stqb.org/downloads.html" TargetMode="External"/><Relationship Id="rId4" Type="http://schemas.openxmlformats.org/officeDocument/2006/relationships/hyperlink" Target="http://www.istqb.org/downloads/viewcategory/20.html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hyperlink" Target="http://www.istqb.org/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1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14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8.xml"/><Relationship Id="rId3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youtube.com/watch?v=HrK1zhqyW4k" TargetMode="Externa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31.xml"/><Relationship Id="rId10" Type="http://schemas.openxmlformats.org/officeDocument/2006/relationships/image" Target="../media/image16.jpe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2.xml"/><Relationship Id="rId3" Type="http://schemas.openxmlformats.org/officeDocument/2006/relationships/image" Target="../media/image1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18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5.xml"/><Relationship Id="rId3" Type="http://schemas.openxmlformats.org/officeDocument/2006/relationships/image" Target="../media/image19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6.xml"/><Relationship Id="rId3" Type="http://schemas.openxmlformats.org/officeDocument/2006/relationships/image" Target="../media/image2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3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38.xml"/><Relationship Id="rId3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39.xml"/><Relationship Id="rId3" Type="http://schemas.openxmlformats.org/officeDocument/2006/relationships/image" Target="../media/image22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4" Type="http://schemas.openxmlformats.org/officeDocument/2006/relationships/diagramLayout" Target="../diagrams/layout3.xml"/><Relationship Id="rId5" Type="http://schemas.openxmlformats.org/officeDocument/2006/relationships/diagramQuickStyle" Target="../diagrams/quickStyle3.xml"/><Relationship Id="rId6" Type="http://schemas.openxmlformats.org/officeDocument/2006/relationships/diagramColors" Target="../diagrams/colors3.xml"/><Relationship Id="rId7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2.xml"/></Relationships>
</file>

<file path=ppt/slides/_rels/slide44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3.xml"/><Relationship Id="rId12" Type="http://schemas.openxmlformats.org/officeDocument/2006/relationships/image" Target="../media/image16.jpeg"/><Relationship Id="rId1" Type="http://schemas.openxmlformats.org/officeDocument/2006/relationships/tags" Target="../tags/tag8.x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tags" Target="../tags/tag14.xml"/><Relationship Id="rId8" Type="http://schemas.openxmlformats.org/officeDocument/2006/relationships/tags" Target="../tags/tag15.xml"/><Relationship Id="rId9" Type="http://schemas.openxmlformats.org/officeDocument/2006/relationships/tags" Target="../tags/tag16.xml"/><Relationship Id="rId10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4.xml"/><Relationship Id="rId12" Type="http://schemas.openxmlformats.org/officeDocument/2006/relationships/image" Target="../media/image16.jpeg"/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Relationship Id="rId9" Type="http://schemas.openxmlformats.org/officeDocument/2006/relationships/tags" Target="../tags/tag25.xml"/><Relationship Id="rId10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1" Type="http://schemas.openxmlformats.org/officeDocument/2006/relationships/notesSlide" Target="../notesSlides/notesSlide45.xml"/><Relationship Id="rId12" Type="http://schemas.openxmlformats.org/officeDocument/2006/relationships/image" Target="../media/image16.jpeg"/><Relationship Id="rId1" Type="http://schemas.openxmlformats.org/officeDocument/2006/relationships/tags" Target="../tags/tag26.xml"/><Relationship Id="rId2" Type="http://schemas.openxmlformats.org/officeDocument/2006/relationships/tags" Target="../tags/tag27.xml"/><Relationship Id="rId3" Type="http://schemas.openxmlformats.org/officeDocument/2006/relationships/tags" Target="../tags/tag28.xml"/><Relationship Id="rId4" Type="http://schemas.openxmlformats.org/officeDocument/2006/relationships/tags" Target="../tags/tag29.xml"/><Relationship Id="rId5" Type="http://schemas.openxmlformats.org/officeDocument/2006/relationships/tags" Target="../tags/tag30.xml"/><Relationship Id="rId6" Type="http://schemas.openxmlformats.org/officeDocument/2006/relationships/tags" Target="../tags/tag31.xml"/><Relationship Id="rId7" Type="http://schemas.openxmlformats.org/officeDocument/2006/relationships/tags" Target="../tags/tag32.xml"/><Relationship Id="rId8" Type="http://schemas.openxmlformats.org/officeDocument/2006/relationships/tags" Target="../tags/tag33.xml"/><Relationship Id="rId9" Type="http://schemas.openxmlformats.org/officeDocument/2006/relationships/tags" Target="../tags/tag34.xml"/><Relationship Id="rId10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4" Type="http://schemas.openxmlformats.org/officeDocument/2006/relationships/diagramLayout" Target="../diagrams/layout4.xml"/><Relationship Id="rId5" Type="http://schemas.openxmlformats.org/officeDocument/2006/relationships/diagramQuickStyle" Target="../diagrams/quickStyle4.xml"/><Relationship Id="rId6" Type="http://schemas.openxmlformats.org/officeDocument/2006/relationships/diagramColors" Target="../diagrams/colors4.xml"/><Relationship Id="rId7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6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8.xml"/><Relationship Id="rId3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5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9.xml"/><Relationship Id="rId3" Type="http://schemas.openxmlformats.org/officeDocument/2006/relationships/image" Target="../media/image24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0.xml"/><Relationship Id="rId3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stqb.org/references/surveys/istqb-effectiveness-survey.html" TargetMode="External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feld 6"/>
          <p:cNvSpPr txBox="1">
            <a:spLocks noChangeArrowheads="1"/>
          </p:cNvSpPr>
          <p:nvPr/>
        </p:nvSpPr>
        <p:spPr bwMode="auto">
          <a:xfrm>
            <a:off x="0" y="3505200"/>
            <a:ext cx="918051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2800" b="1" dirty="0">
                <a:solidFill>
                  <a:prstClr val="white"/>
                </a:solidFill>
                <a:cs typeface="Arial" pitchFamily="34" charset="0"/>
              </a:rPr>
              <a:t>ISTQB</a:t>
            </a:r>
            <a:r>
              <a:rPr lang="de-DE" sz="2800" b="1" baseline="30000" dirty="0">
                <a:solidFill>
                  <a:prstClr val="white"/>
                </a:solidFill>
                <a:cs typeface="Arial" pitchFamily="34" charset="0"/>
              </a:rPr>
              <a:t>®</a:t>
            </a:r>
            <a:r>
              <a:rPr lang="de-DE" sz="2800" b="1" dirty="0">
                <a:solidFill>
                  <a:prstClr val="white"/>
                </a:solidFill>
                <a:cs typeface="Arial" pitchFamily="34" charset="0"/>
              </a:rPr>
              <a:t> </a:t>
            </a:r>
            <a:r>
              <a:rPr lang="de-DE" sz="2800" b="1" dirty="0" smtClean="0">
                <a:solidFill>
                  <a:prstClr val="white"/>
                </a:solidFill>
                <a:cs typeface="Arial" pitchFamily="34" charset="0"/>
              </a:rPr>
              <a:t>in </a:t>
            </a:r>
            <a:r>
              <a:rPr lang="de-DE" sz="2800" b="1" dirty="0">
                <a:solidFill>
                  <a:prstClr val="white"/>
                </a:solidFill>
                <a:cs typeface="Arial" pitchFamily="34" charset="0"/>
              </a:rPr>
              <a:t>a Nutshell</a:t>
            </a: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solidFill>
                <a:prstClr val="white"/>
              </a:solidFill>
              <a:cs typeface="Arial" pitchFamily="34" charset="0"/>
            </a:endParaRP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2000" b="1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endParaRPr lang="de-DE" sz="2000" b="1" dirty="0">
              <a:solidFill>
                <a:prstClr val="white"/>
              </a:solidFill>
              <a:cs typeface="Arial" pitchFamily="34" charset="0"/>
            </a:endParaRP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solidFill>
                <a:prstClr val="white"/>
              </a:solidFill>
              <a:cs typeface="Arial" pitchFamily="34" charset="0"/>
            </a:endParaRPr>
          </a:p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099" name="Textfeld 4"/>
          <p:cNvSpPr txBox="1">
            <a:spLocks noChangeArrowheads="1"/>
          </p:cNvSpPr>
          <p:nvPr/>
        </p:nvSpPr>
        <p:spPr bwMode="auto">
          <a:xfrm>
            <a:off x="0" y="4800600"/>
            <a:ext cx="91805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z="1400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endParaRPr lang="de-DE" sz="140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3270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5"/>
          <p:cNvSpPr/>
          <p:nvPr/>
        </p:nvSpPr>
        <p:spPr>
          <a:xfrm>
            <a:off x="6539966" y="1552575"/>
            <a:ext cx="2590800" cy="4924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pic>
        <p:nvPicPr>
          <p:cNvPr id="41988" name="Immagin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068638"/>
            <a:ext cx="2519363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611560" y="2374900"/>
            <a:ext cx="5616624" cy="326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pitchFamily="-107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pitchFamily="-107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pitchFamily="-107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pitchFamily="-107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ernational recognition of acquired competencies and skills</a:t>
            </a:r>
          </a:p>
          <a:p>
            <a:pPr>
              <a:defRPr/>
            </a:pPr>
            <a:endParaRPr lang="en-US" sz="1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uthorized </a:t>
            </a: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o use the “Certified Tester” logo (specifying the level of certification)</a:t>
            </a:r>
          </a:p>
          <a:p>
            <a:pPr>
              <a:defRPr/>
            </a:pPr>
            <a:endParaRPr lang="en-US" sz="1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8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hole of career path support, from Foundation to Expert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r>
              <a:rPr lang="it-IT" dirty="0" smtClean="0"/>
              <a:t>BENEFITS FOR PROFESSIONAL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588355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BENEFITS FOR COMPANIES</a:t>
            </a:r>
            <a:endParaRPr lang="it-IT" dirty="0"/>
          </a:p>
        </p:txBody>
      </p:sp>
      <p:sp>
        <p:nvSpPr>
          <p:cNvPr id="2" name="Segnaposto contenuto 1"/>
          <p:cNvSpPr>
            <a:spLocks noGrp="1"/>
          </p:cNvSpPr>
          <p:nvPr>
            <p:ph idx="1"/>
          </p:nvPr>
        </p:nvSpPr>
        <p:spPr>
          <a:xfrm>
            <a:off x="467544" y="1927373"/>
            <a:ext cx="5987008" cy="4525963"/>
          </a:xfrm>
        </p:spPr>
        <p:txBody>
          <a:bodyPr/>
          <a:lstStyle/>
          <a:p>
            <a:pPr eaLnBrk="1" hangingPunct="1"/>
            <a:r>
              <a:rPr lang="en-US" sz="1800" dirty="0" smtClean="0">
                <a:solidFill>
                  <a:prstClr val="black"/>
                </a:solidFill>
                <a:ea typeface="+mn-ea"/>
              </a:rPr>
              <a:t>ISTQB</a:t>
            </a:r>
            <a:r>
              <a:rPr lang="it-IT" sz="1800" baseline="30000" dirty="0" smtClean="0"/>
              <a:t>®</a:t>
            </a:r>
            <a:r>
              <a:rPr lang="en-US" sz="1800" dirty="0" smtClean="0">
                <a:solidFill>
                  <a:prstClr val="black"/>
                </a:solidFill>
                <a:ea typeface="+mn-ea"/>
              </a:rPr>
              <a:t> </a:t>
            </a:r>
            <a:r>
              <a:rPr lang="en-US" sz="1800" dirty="0">
                <a:solidFill>
                  <a:prstClr val="black"/>
                </a:solidFill>
                <a:ea typeface="+mn-ea"/>
              </a:rPr>
              <a:t>certification can provide a competitive advantage for companies, promising a higher level of reliability of the applications being developed due to efficient and cost effective testing practices derived from the </a:t>
            </a:r>
            <a:r>
              <a:rPr lang="en-US" sz="1800" dirty="0" smtClean="0">
                <a:solidFill>
                  <a:prstClr val="black"/>
                </a:solidFill>
                <a:ea typeface="+mn-ea"/>
              </a:rPr>
              <a:t>ISTQB</a:t>
            </a:r>
            <a:r>
              <a:rPr lang="it-IT" sz="1800" baseline="30000" dirty="0" smtClean="0"/>
              <a:t>®</a:t>
            </a:r>
            <a:r>
              <a:rPr lang="en-US" sz="1800" dirty="0" smtClean="0">
                <a:solidFill>
                  <a:prstClr val="black"/>
                </a:solidFill>
                <a:ea typeface="+mn-ea"/>
              </a:rPr>
              <a:t> </a:t>
            </a:r>
            <a:r>
              <a:rPr lang="en-US" sz="1800" dirty="0">
                <a:solidFill>
                  <a:prstClr val="black"/>
                </a:solidFill>
                <a:ea typeface="+mn-ea"/>
              </a:rPr>
              <a:t>competencies</a:t>
            </a:r>
          </a:p>
          <a:p>
            <a:pPr marL="0" indent="0" eaLnBrk="1" hangingPunct="1">
              <a:buNone/>
            </a:pPr>
            <a:endParaRPr lang="en-US" sz="1800" dirty="0">
              <a:solidFill>
                <a:prstClr val="black"/>
              </a:solidFill>
              <a:ea typeface="+mn-ea"/>
            </a:endParaRPr>
          </a:p>
          <a:p>
            <a:pPr eaLnBrk="1" hangingPunct="1"/>
            <a:r>
              <a:rPr lang="en-US" sz="1800" dirty="0">
                <a:solidFill>
                  <a:prstClr val="black"/>
                </a:solidFill>
                <a:ea typeface="+mn-ea"/>
              </a:rPr>
              <a:t>Consulting companies with certified staff can offer higher-level services to customers, increasing revenues and brand value</a:t>
            </a:r>
          </a:p>
          <a:p>
            <a:pPr eaLnBrk="1" hangingPunct="1"/>
            <a:endParaRPr lang="en-US" sz="1800" dirty="0">
              <a:solidFill>
                <a:prstClr val="black"/>
              </a:solidFill>
              <a:ea typeface="+mn-ea"/>
            </a:endParaRPr>
          </a:p>
          <a:p>
            <a:pPr eaLnBrk="1" hangingPunct="1"/>
            <a:r>
              <a:rPr lang="en-US" sz="1800" dirty="0">
                <a:solidFill>
                  <a:prstClr val="black"/>
                </a:solidFill>
                <a:ea typeface="+mn-ea"/>
              </a:rPr>
              <a:t>ISTQB® has defined a “Partner Program” for companies that engage a large number of certified testers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921" y="4941168"/>
            <a:ext cx="2479758" cy="88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4654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  <p:grpSp>
        <p:nvGrpSpPr>
          <p:cNvPr id="89" name="Gruppo 88"/>
          <p:cNvGrpSpPr/>
          <p:nvPr/>
        </p:nvGrpSpPr>
        <p:grpSpPr>
          <a:xfrm>
            <a:off x="1832069" y="1838976"/>
            <a:ext cx="5479863" cy="3174200"/>
            <a:chOff x="1831034" y="1838976"/>
            <a:chExt cx="5479863" cy="3174200"/>
          </a:xfrm>
        </p:grpSpPr>
        <p:grpSp>
          <p:nvGrpSpPr>
            <p:cNvPr id="35" name="Gruppo 34"/>
            <p:cNvGrpSpPr/>
            <p:nvPr/>
          </p:nvGrpSpPr>
          <p:grpSpPr>
            <a:xfrm>
              <a:off x="1831034" y="1838976"/>
              <a:ext cx="1186584" cy="474633"/>
              <a:chOff x="1003450" y="2583"/>
              <a:chExt cx="1186584" cy="474633"/>
            </a:xfrm>
            <a:scene3d>
              <a:camera prst="orthographicFront"/>
              <a:lightRig rig="chilly" dir="t"/>
            </a:scene3d>
          </p:grpSpPr>
          <p:sp>
            <p:nvSpPr>
              <p:cNvPr id="69" name="Gallone 68"/>
              <p:cNvSpPr/>
              <p:nvPr/>
            </p:nvSpPr>
            <p:spPr>
              <a:xfrm>
                <a:off x="1003450" y="2583"/>
                <a:ext cx="1186584" cy="474633"/>
              </a:xfrm>
              <a:prstGeom prst="chevron">
                <a:avLst/>
              </a:prstGeom>
              <a:ln w="76200">
                <a:noFill/>
              </a:ln>
              <a:sp3d prstMaterial="translucentPowder">
                <a:bevelT w="127000" h="25400" prst="softRound"/>
              </a:sp3d>
            </p:spPr>
            <p:style>
              <a:lnRef idx="0">
                <a:scrgbClr r="0" g="0" b="0"/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Gallone 4"/>
              <p:cNvSpPr/>
              <p:nvPr/>
            </p:nvSpPr>
            <p:spPr>
              <a:xfrm>
                <a:off x="1240767" y="2583"/>
                <a:ext cx="711951" cy="47463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5560" tIns="17780" rIns="0" bIns="17780" numCol="1" spcCol="1270" anchor="ctr" anchorCtr="0">
                <a:noAutofit/>
              </a:bodyPr>
              <a:lstStyle/>
              <a:p>
                <a:pPr lvl="0" algn="ctr" defTabSz="12446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800" b="1" dirty="0">
                    <a:latin typeface="Arial" pitchFamily="34" charset="0"/>
                    <a:cs typeface="Arial" pitchFamily="34" charset="0"/>
                  </a:rPr>
                  <a:t>3</a:t>
                </a:r>
                <a:endParaRPr lang="en-US" sz="20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6" name="Gruppo 35"/>
            <p:cNvGrpSpPr/>
            <p:nvPr/>
          </p:nvGrpSpPr>
          <p:grpSpPr>
            <a:xfrm>
              <a:off x="2863363" y="1879320"/>
              <a:ext cx="4447534" cy="393946"/>
              <a:chOff x="2035779" y="42927"/>
              <a:chExt cx="4447534" cy="393946"/>
            </a:xfrm>
            <a:scene3d>
              <a:camera prst="orthographicFront"/>
              <a:lightRig rig="chilly" dir="t"/>
            </a:scene3d>
          </p:grpSpPr>
          <p:sp>
            <p:nvSpPr>
              <p:cNvPr id="67" name="Gallone 66"/>
              <p:cNvSpPr/>
              <p:nvPr/>
            </p:nvSpPr>
            <p:spPr>
              <a:xfrm>
                <a:off x="2035779" y="42927"/>
                <a:ext cx="4447534" cy="393946"/>
              </a:xfrm>
              <a:prstGeom prst="chevron">
                <a:avLst/>
              </a:prstGeom>
              <a:ln w="57150">
                <a:noFill/>
              </a:ln>
              <a:sp3d extrusionH="1700" prstMaterial="dkEdge">
                <a:bevelT w="25400" h="6350" prst="softRound"/>
                <a:bevelB w="0" h="0" prst="convex"/>
              </a:sp3d>
            </p:spPr>
            <p:style>
              <a:lnRef idx="1">
                <a:scrgbClr r="0" g="0" b="0"/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8" name="Gallone 6"/>
              <p:cNvSpPr/>
              <p:nvPr/>
            </p:nvSpPr>
            <p:spPr>
              <a:xfrm>
                <a:off x="2232752" y="42927"/>
                <a:ext cx="4053588" cy="3939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400" tIns="12700" rIns="0" bIns="12700" numCol="1" spcCol="1270" anchor="ctr" anchorCtr="0">
                <a:noAutofit/>
              </a:bodyPr>
              <a:lstStyle/>
              <a:p>
                <a:pPr lvl="0"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000" dirty="0">
                    <a:latin typeface="Arial" charset="0"/>
                    <a:ea typeface="ＭＳ Ｐゴシック" pitchFamily="34" charset="-128"/>
                  </a:rPr>
                  <a:t>Syllabi and </a:t>
                </a:r>
                <a:r>
                  <a:rPr lang="en-US" sz="2000" dirty="0"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xtension</a:t>
                </a:r>
                <a:r>
                  <a:rPr lang="en-US" sz="2000" dirty="0">
                    <a:latin typeface="Arial" charset="0"/>
                    <a:ea typeface="ＭＳ Ｐゴシック" pitchFamily="34" charset="-128"/>
                  </a:rPr>
                  <a:t>s</a:t>
                </a:r>
                <a:endParaRPr lang="en-US" sz="2400" dirty="0"/>
              </a:p>
            </p:txBody>
          </p:sp>
        </p:grpSp>
        <p:grpSp>
          <p:nvGrpSpPr>
            <p:cNvPr id="37" name="Gruppo 36"/>
            <p:cNvGrpSpPr/>
            <p:nvPr/>
          </p:nvGrpSpPr>
          <p:grpSpPr>
            <a:xfrm>
              <a:off x="2211308" y="2374212"/>
              <a:ext cx="1186584" cy="474633"/>
              <a:chOff x="1003450" y="543666"/>
              <a:chExt cx="1186584" cy="474633"/>
            </a:xfrm>
            <a:scene3d>
              <a:camera prst="orthographicFront"/>
              <a:lightRig rig="chilly" dir="t"/>
            </a:scene3d>
          </p:grpSpPr>
          <p:sp>
            <p:nvSpPr>
              <p:cNvPr id="65" name="Gallone 64"/>
              <p:cNvSpPr/>
              <p:nvPr/>
            </p:nvSpPr>
            <p:spPr>
              <a:xfrm>
                <a:off x="1003450" y="543666"/>
                <a:ext cx="1186584" cy="474633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  <a:ln w="76200">
                <a:solidFill>
                  <a:schemeClr val="bg1">
                    <a:lumMod val="50000"/>
                  </a:schemeClr>
                </a:solidFill>
              </a:ln>
              <a:sp3d prstMaterial="translucentPowder">
                <a:bevelT w="127000" h="25400" prst="softRound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Gallone 8"/>
              <p:cNvSpPr/>
              <p:nvPr/>
            </p:nvSpPr>
            <p:spPr>
              <a:xfrm>
                <a:off x="1240767" y="543666"/>
                <a:ext cx="711951" cy="47463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5560" tIns="17780" rIns="0" bIns="17780" numCol="1" spcCol="1270" anchor="ctr" anchorCtr="0">
                <a:noAutofit/>
              </a:bodyPr>
              <a:lstStyle/>
              <a:p>
                <a:pPr lvl="0" algn="ctr" defTabSz="12446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b="1" kern="12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3.1</a:t>
                </a:r>
                <a:endParaRPr lang="en-US" sz="2000" b="1" kern="12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8" name="Gruppo 37"/>
            <p:cNvGrpSpPr/>
            <p:nvPr/>
          </p:nvGrpSpPr>
          <p:grpSpPr>
            <a:xfrm>
              <a:off x="3243638" y="2414556"/>
              <a:ext cx="4062778" cy="393946"/>
              <a:chOff x="2035779" y="584010"/>
              <a:chExt cx="4447534" cy="393946"/>
            </a:xfrm>
            <a:scene3d>
              <a:camera prst="orthographicFront"/>
              <a:lightRig rig="chilly" dir="t"/>
            </a:scene3d>
          </p:grpSpPr>
          <p:sp>
            <p:nvSpPr>
              <p:cNvPr id="63" name="Gallone 62"/>
              <p:cNvSpPr/>
              <p:nvPr/>
            </p:nvSpPr>
            <p:spPr>
              <a:xfrm>
                <a:off x="2035779" y="584010"/>
                <a:ext cx="4447534" cy="393946"/>
              </a:xfrm>
              <a:prstGeom prst="chevron">
                <a:avLst/>
              </a:prstGeom>
              <a:ln w="57150">
                <a:solidFill>
                  <a:schemeClr val="bg1">
                    <a:lumMod val="50000"/>
                    <a:alpha val="90000"/>
                  </a:schemeClr>
                </a:solidFill>
              </a:ln>
              <a:sp3d extrusionH="1700" prstMaterial="dkEdge">
                <a:bevelT w="25400" h="6350" prst="softRound"/>
                <a:bevelB w="0" h="0" prst="convex"/>
              </a:sp3d>
            </p:spPr>
            <p:style>
              <a:ln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4" name="Gallone 10"/>
              <p:cNvSpPr/>
              <p:nvPr/>
            </p:nvSpPr>
            <p:spPr>
              <a:xfrm>
                <a:off x="2232752" y="584010"/>
                <a:ext cx="4053588" cy="3939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400" tIns="12700" rIns="0" bIns="127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kern="1200" dirty="0" smtClean="0"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General Introduction</a:t>
                </a:r>
                <a:endParaRPr lang="en-US" sz="2000" kern="1200" dirty="0"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grpSp>
          <p:nvGrpSpPr>
            <p:cNvPr id="39" name="Gruppo 38"/>
            <p:cNvGrpSpPr/>
            <p:nvPr/>
          </p:nvGrpSpPr>
          <p:grpSpPr>
            <a:xfrm>
              <a:off x="2211308" y="2915294"/>
              <a:ext cx="1186584" cy="474633"/>
              <a:chOff x="1003450" y="1084748"/>
              <a:chExt cx="1186584" cy="474633"/>
            </a:xfrm>
            <a:scene3d>
              <a:camera prst="orthographicFront"/>
              <a:lightRig rig="chilly" dir="t"/>
            </a:scene3d>
          </p:grpSpPr>
          <p:sp>
            <p:nvSpPr>
              <p:cNvPr id="61" name="Gallone 60"/>
              <p:cNvSpPr/>
              <p:nvPr/>
            </p:nvSpPr>
            <p:spPr>
              <a:xfrm>
                <a:off x="1003450" y="1084748"/>
                <a:ext cx="1186584" cy="474633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  <a:sp3d prstMaterial="translucentPowder">
                <a:bevelT w="127000" h="25400" prst="softRound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2" name="Gallone 12"/>
              <p:cNvSpPr/>
              <p:nvPr/>
            </p:nvSpPr>
            <p:spPr>
              <a:xfrm>
                <a:off x="1240767" y="1084748"/>
                <a:ext cx="711951" cy="47463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5560" tIns="17780" rIns="0" bIns="17780" numCol="1" spcCol="1270" anchor="ctr" anchorCtr="0">
                <a:noAutofit/>
              </a:bodyPr>
              <a:lstStyle/>
              <a:p>
                <a:pPr lvl="0" algn="ctr" defTabSz="12446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b="1" dirty="0" smtClean="0">
                    <a:latin typeface="Arial" pitchFamily="34" charset="0"/>
                    <a:cs typeface="Arial" pitchFamily="34" charset="0"/>
                  </a:rPr>
                  <a:t>3.2</a:t>
                </a:r>
                <a:endParaRPr lang="en-US" sz="20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0" name="Gruppo 39"/>
            <p:cNvGrpSpPr/>
            <p:nvPr/>
          </p:nvGrpSpPr>
          <p:grpSpPr>
            <a:xfrm>
              <a:off x="3243638" y="2955638"/>
              <a:ext cx="4063156" cy="393946"/>
              <a:chOff x="2035779" y="1125092"/>
              <a:chExt cx="4447948" cy="393946"/>
            </a:xfrm>
            <a:scene3d>
              <a:camera prst="orthographicFront"/>
              <a:lightRig rig="chilly" dir="t"/>
            </a:scene3d>
          </p:grpSpPr>
          <p:sp>
            <p:nvSpPr>
              <p:cNvPr id="59" name="Gallone 58"/>
              <p:cNvSpPr/>
              <p:nvPr/>
            </p:nvSpPr>
            <p:spPr>
              <a:xfrm>
                <a:off x="2035779" y="1125092"/>
                <a:ext cx="4447948" cy="393946"/>
              </a:xfrm>
              <a:prstGeom prst="chevron">
                <a:avLst/>
              </a:prstGeom>
              <a:sp3d extrusionH="1700" prstMaterial="dkEdge">
                <a:bevelT w="25400" h="6350" prst="softRound"/>
                <a:bevelB w="0" h="0" prst="convex"/>
              </a:sp3d>
            </p:spPr>
            <p:style>
              <a:ln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0" name="Gallone 14"/>
              <p:cNvSpPr/>
              <p:nvPr/>
            </p:nvSpPr>
            <p:spPr>
              <a:xfrm>
                <a:off x="2232752" y="1125092"/>
                <a:ext cx="4054002" cy="3939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400" tIns="12700" rIns="0" bIns="127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dirty="0"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Foundation Level</a:t>
                </a:r>
                <a:endParaRPr lang="en-US" sz="2000" kern="1200" dirty="0"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grpSp>
          <p:nvGrpSpPr>
            <p:cNvPr id="41" name="Gruppo 40"/>
            <p:cNvGrpSpPr/>
            <p:nvPr/>
          </p:nvGrpSpPr>
          <p:grpSpPr>
            <a:xfrm>
              <a:off x="2211308" y="3456377"/>
              <a:ext cx="1186584" cy="474633"/>
              <a:chOff x="1003450" y="1625831"/>
              <a:chExt cx="1186584" cy="474633"/>
            </a:xfrm>
            <a:scene3d>
              <a:camera prst="orthographicFront"/>
              <a:lightRig rig="chilly" dir="t"/>
            </a:scene3d>
          </p:grpSpPr>
          <p:sp>
            <p:nvSpPr>
              <p:cNvPr id="57" name="Gallone 56"/>
              <p:cNvSpPr/>
              <p:nvPr/>
            </p:nvSpPr>
            <p:spPr>
              <a:xfrm>
                <a:off x="1003450" y="1625831"/>
                <a:ext cx="1186584" cy="474633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  <a:sp3d prstMaterial="translucentPowder">
                <a:bevelT w="127000" h="25400" prst="softRound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8" name="Gallone 16"/>
              <p:cNvSpPr/>
              <p:nvPr/>
            </p:nvSpPr>
            <p:spPr>
              <a:xfrm>
                <a:off x="1240767" y="1625831"/>
                <a:ext cx="711951" cy="47463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5560" tIns="17780" rIns="0" bIns="17780" numCol="1" spcCol="1270" anchor="ctr" anchorCtr="0">
                <a:noAutofit/>
              </a:bodyPr>
              <a:lstStyle/>
              <a:p>
                <a:pPr lvl="0" algn="ctr" defTabSz="12446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b="1" kern="1200" dirty="0" smtClean="0">
                    <a:latin typeface="Arial" pitchFamily="34" charset="0"/>
                    <a:cs typeface="Arial" pitchFamily="34" charset="0"/>
                  </a:rPr>
                  <a:t>3.3</a:t>
                </a:r>
                <a:endParaRPr lang="en-US" sz="20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2" name="Gruppo 41"/>
            <p:cNvGrpSpPr/>
            <p:nvPr/>
          </p:nvGrpSpPr>
          <p:grpSpPr>
            <a:xfrm>
              <a:off x="3243637" y="3496721"/>
              <a:ext cx="4062058" cy="393946"/>
              <a:chOff x="2035779" y="1666175"/>
              <a:chExt cx="4446746" cy="393946"/>
            </a:xfrm>
            <a:scene3d>
              <a:camera prst="orthographicFront"/>
              <a:lightRig rig="chilly" dir="t"/>
            </a:scene3d>
          </p:grpSpPr>
          <p:sp>
            <p:nvSpPr>
              <p:cNvPr id="55" name="Gallone 54"/>
              <p:cNvSpPr/>
              <p:nvPr/>
            </p:nvSpPr>
            <p:spPr>
              <a:xfrm>
                <a:off x="2035779" y="1666175"/>
                <a:ext cx="4446746" cy="393946"/>
              </a:xfrm>
              <a:prstGeom prst="chevron">
                <a:avLst/>
              </a:prstGeom>
              <a:sp3d extrusionH="1700" prstMaterial="dkEdge">
                <a:bevelT w="25400" h="6350" prst="softRound"/>
                <a:bevelB w="0" h="0" prst="convex"/>
              </a:sp3d>
            </p:spPr>
            <p:style>
              <a:ln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6" name="Gallone 18"/>
              <p:cNvSpPr/>
              <p:nvPr/>
            </p:nvSpPr>
            <p:spPr>
              <a:xfrm>
                <a:off x="2232752" y="1666175"/>
                <a:ext cx="4052800" cy="3939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400" tIns="12700" rIns="0" bIns="127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dirty="0"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gile Tester</a:t>
                </a:r>
                <a:endParaRPr lang="en-US" sz="2000" kern="1200" dirty="0"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grpSp>
          <p:nvGrpSpPr>
            <p:cNvPr id="43" name="Gruppo 42"/>
            <p:cNvGrpSpPr/>
            <p:nvPr/>
          </p:nvGrpSpPr>
          <p:grpSpPr>
            <a:xfrm>
              <a:off x="2211308" y="3997460"/>
              <a:ext cx="1186584" cy="474633"/>
              <a:chOff x="1003450" y="2166914"/>
              <a:chExt cx="1186584" cy="474633"/>
            </a:xfrm>
            <a:scene3d>
              <a:camera prst="orthographicFront"/>
              <a:lightRig rig="chilly" dir="t"/>
            </a:scene3d>
          </p:grpSpPr>
          <p:sp>
            <p:nvSpPr>
              <p:cNvPr id="53" name="Gallone 52"/>
              <p:cNvSpPr/>
              <p:nvPr/>
            </p:nvSpPr>
            <p:spPr>
              <a:xfrm>
                <a:off x="1003450" y="2166914"/>
                <a:ext cx="1186584" cy="474633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  <a:sp3d prstMaterial="translucentPowder">
                <a:bevelT w="127000" h="25400" prst="softRound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4" name="Gallone 20"/>
              <p:cNvSpPr/>
              <p:nvPr/>
            </p:nvSpPr>
            <p:spPr>
              <a:xfrm>
                <a:off x="1240767" y="2166914"/>
                <a:ext cx="711951" cy="47463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640" tIns="20320" rIns="0" bIns="20320" numCol="1" spcCol="1270" anchor="ctr" anchorCtr="0">
                <a:noAutofit/>
              </a:bodyPr>
              <a:lstStyle/>
              <a:p>
                <a:pPr lvl="0"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1" kern="1200" dirty="0" smtClean="0">
                    <a:latin typeface="Arial" pitchFamily="34" charset="0"/>
                    <a:cs typeface="Arial" pitchFamily="34" charset="0"/>
                  </a:rPr>
                  <a:t>3.4</a:t>
                </a:r>
                <a:endParaRPr lang="en-US" sz="2000" b="1" kern="1200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4" name="Gruppo 43"/>
            <p:cNvGrpSpPr/>
            <p:nvPr/>
          </p:nvGrpSpPr>
          <p:grpSpPr>
            <a:xfrm>
              <a:off x="3243638" y="4037804"/>
              <a:ext cx="4063156" cy="393946"/>
              <a:chOff x="2035779" y="2207258"/>
              <a:chExt cx="4447948" cy="393946"/>
            </a:xfrm>
            <a:scene3d>
              <a:camera prst="orthographicFront"/>
              <a:lightRig rig="chilly" dir="t"/>
            </a:scene3d>
          </p:grpSpPr>
          <p:sp>
            <p:nvSpPr>
              <p:cNvPr id="51" name="Gallone 50"/>
              <p:cNvSpPr/>
              <p:nvPr/>
            </p:nvSpPr>
            <p:spPr>
              <a:xfrm>
                <a:off x="2035779" y="2207258"/>
                <a:ext cx="4447948" cy="393946"/>
              </a:xfrm>
              <a:prstGeom prst="chevron">
                <a:avLst/>
              </a:prstGeom>
              <a:sp3d extrusionH="1700" prstMaterial="dkEdge">
                <a:bevelT w="25400" h="6350" prst="softRound"/>
                <a:bevelB w="0" h="0" prst="convex"/>
              </a:sp3d>
            </p:spPr>
            <p:style>
              <a:ln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2" name="Gallone 22"/>
              <p:cNvSpPr/>
              <p:nvPr/>
            </p:nvSpPr>
            <p:spPr>
              <a:xfrm>
                <a:off x="2232752" y="2207258"/>
                <a:ext cx="4054002" cy="3939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400" tIns="12700" rIns="0" bIns="127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dirty="0"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dvanced Level</a:t>
                </a:r>
                <a:endParaRPr lang="en-US" sz="2000" kern="1200" dirty="0"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grpSp>
          <p:nvGrpSpPr>
            <p:cNvPr id="45" name="Gruppo 44"/>
            <p:cNvGrpSpPr/>
            <p:nvPr/>
          </p:nvGrpSpPr>
          <p:grpSpPr>
            <a:xfrm>
              <a:off x="2211308" y="4538543"/>
              <a:ext cx="1186584" cy="474633"/>
              <a:chOff x="1003450" y="2707997"/>
              <a:chExt cx="1186584" cy="474633"/>
            </a:xfrm>
            <a:scene3d>
              <a:camera prst="orthographicFront"/>
              <a:lightRig rig="chilly" dir="t"/>
            </a:scene3d>
          </p:grpSpPr>
          <p:sp>
            <p:nvSpPr>
              <p:cNvPr id="49" name="Gallone 48"/>
              <p:cNvSpPr/>
              <p:nvPr/>
            </p:nvSpPr>
            <p:spPr>
              <a:xfrm>
                <a:off x="1003450" y="2707997"/>
                <a:ext cx="1186584" cy="474633"/>
              </a:xfrm>
              <a:prstGeom prst="chevron">
                <a:avLst/>
              </a:prstGeom>
              <a:solidFill>
                <a:schemeClr val="bg1">
                  <a:lumMod val="65000"/>
                </a:schemeClr>
              </a:solidFill>
              <a:sp3d prstMaterial="translucentPowder">
                <a:bevelT w="127000" h="25400" prst="softRound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0" name="Gallone 24"/>
              <p:cNvSpPr/>
              <p:nvPr/>
            </p:nvSpPr>
            <p:spPr>
              <a:xfrm>
                <a:off x="1240767" y="2707997"/>
                <a:ext cx="711951" cy="47463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0640" tIns="20320" rIns="0" bIns="20320" numCol="1" spcCol="1270" anchor="ctr" anchorCtr="0">
                <a:noAutofit/>
              </a:bodyPr>
              <a:lstStyle/>
              <a:p>
                <a:pPr lvl="0" algn="ctr" defTabSz="1422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1" kern="1200" dirty="0" smtClean="0">
                    <a:latin typeface="Arial" charset="0"/>
                    <a:ea typeface="ＭＳ Ｐゴシック" pitchFamily="34" charset="-128"/>
                  </a:rPr>
                  <a:t>3.5</a:t>
                </a:r>
                <a:endParaRPr lang="en-US" sz="2000" b="1" kern="1200" dirty="0">
                  <a:latin typeface="Arial" charset="0"/>
                  <a:ea typeface="ＭＳ Ｐゴシック" pitchFamily="34" charset="-128"/>
                </a:endParaRPr>
              </a:p>
            </p:txBody>
          </p:sp>
        </p:grpSp>
        <p:grpSp>
          <p:nvGrpSpPr>
            <p:cNvPr id="46" name="Gruppo 45"/>
            <p:cNvGrpSpPr/>
            <p:nvPr/>
          </p:nvGrpSpPr>
          <p:grpSpPr>
            <a:xfrm>
              <a:off x="3243637" y="4578887"/>
              <a:ext cx="4064667" cy="393946"/>
              <a:chOff x="2035779" y="2748341"/>
              <a:chExt cx="4449602" cy="393946"/>
            </a:xfrm>
            <a:scene3d>
              <a:camera prst="orthographicFront"/>
              <a:lightRig rig="chilly" dir="t"/>
            </a:scene3d>
          </p:grpSpPr>
          <p:sp>
            <p:nvSpPr>
              <p:cNvPr id="47" name="Gallone 46"/>
              <p:cNvSpPr/>
              <p:nvPr/>
            </p:nvSpPr>
            <p:spPr>
              <a:xfrm>
                <a:off x="2035779" y="2748341"/>
                <a:ext cx="4449602" cy="393946"/>
              </a:xfrm>
              <a:prstGeom prst="chevron">
                <a:avLst/>
              </a:prstGeom>
              <a:sp3d extrusionH="1700" prstMaterial="dkEdge">
                <a:bevelT w="25400" h="6350" prst="softRound"/>
                <a:bevelB w="0" h="0" prst="convex"/>
              </a:sp3d>
            </p:spPr>
            <p:style>
              <a:ln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8" name="Gallone 26"/>
              <p:cNvSpPr/>
              <p:nvPr/>
            </p:nvSpPr>
            <p:spPr>
              <a:xfrm>
                <a:off x="2232752" y="2748341"/>
                <a:ext cx="4055656" cy="393946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5400" tIns="12700" rIns="0" bIns="127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</a:pPr>
                <a:r>
                  <a:rPr lang="en-US" sz="2000" dirty="0"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Expert Level</a:t>
                </a:r>
                <a:endParaRPr lang="en-US" sz="2000" kern="1200" dirty="0"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4227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SYLLABI AND GLOSSARY</a:t>
            </a:r>
            <a:endParaRPr lang="it-IT" dirty="0"/>
          </a:p>
        </p:txBody>
      </p:sp>
      <p:sp>
        <p:nvSpPr>
          <p:cNvPr id="7" name="Segnaposto contenuto 2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4525963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ISTQB</a:t>
            </a:r>
            <a:r>
              <a:rPr lang="en-US" sz="1800" baseline="30000" dirty="0">
                <a:solidFill>
                  <a:prstClr val="black"/>
                </a:solidFill>
                <a:ea typeface="ＭＳ Ｐゴシック" pitchFamily="34" charset="-128"/>
              </a:rPr>
              <a:t>®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 has defined three levels of 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syllabi:</a:t>
            </a:r>
            <a:endParaRPr lang="en-US" sz="18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lvl="1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Foundation</a:t>
            </a:r>
          </a:p>
          <a:p>
            <a:pPr lvl="1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Advanced (Test Manager, Test Analyst, Technical Test Analyst)</a:t>
            </a:r>
          </a:p>
          <a:p>
            <a:pPr lvl="1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Expert (Improving the 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Testing 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Process, Test Management, Test 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Automation, 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Security 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Testing</a:t>
            </a:r>
            <a:r>
              <a:rPr lang="en-US" sz="1800" b="1" dirty="0" smtClean="0">
                <a:ea typeface="ＭＳ Ｐゴシック" pitchFamily="34" charset="-128"/>
              </a:rPr>
              <a:t>,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 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etc.)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Syllabi are publicly available for download from the ISTQB</a:t>
            </a:r>
            <a:r>
              <a:rPr lang="en-US" sz="1800" baseline="30000" dirty="0">
                <a:solidFill>
                  <a:prstClr val="black"/>
                </a:solidFill>
                <a:ea typeface="ＭＳ Ｐゴシック" pitchFamily="34" charset="-128"/>
              </a:rPr>
              <a:t>®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 Website (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  <a:hlinkClick r:id="rId3"/>
              </a:rPr>
              <a:t>http://www.istqb.org/downloads.html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)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Syllabi are written by 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testing 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experts and continuously reviewed and improved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Terms used in the ISTQB</a:t>
            </a:r>
            <a:r>
              <a:rPr lang="en-US" sz="1800" baseline="30000" dirty="0">
                <a:solidFill>
                  <a:prstClr val="black"/>
                </a:solidFill>
                <a:ea typeface="ＭＳ Ｐゴシック" pitchFamily="34" charset="-128"/>
              </a:rPr>
              <a:t>®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 syllabi are defined i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n 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the ISTQB</a:t>
            </a:r>
            <a:r>
              <a:rPr lang="en-US" sz="1800" baseline="30000" dirty="0">
                <a:solidFill>
                  <a:prstClr val="black"/>
                </a:solidFill>
                <a:ea typeface="ＭＳ Ｐゴシック" pitchFamily="34" charset="-128"/>
              </a:rPr>
              <a:t>®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 Glossary (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  <a:hlinkClick r:id="rId4"/>
              </a:rPr>
              <a:t>http://www.istqb.org/downloads/viewcategory/20.html</a:t>
            </a:r>
            <a:r>
              <a:rPr lang="en-US" sz="1800" dirty="0">
                <a:solidFill>
                  <a:prstClr val="black"/>
                </a:solidFill>
                <a:ea typeface="ＭＳ Ｐゴシック" pitchFamily="34" charset="-128"/>
              </a:rPr>
              <a:t>) </a:t>
            </a:r>
            <a:endParaRPr lang="en-US" sz="1800" dirty="0" smtClean="0">
              <a:solidFill>
                <a:prstClr val="black"/>
              </a:solidFill>
              <a:ea typeface="ＭＳ Ｐゴシック" pitchFamily="34" charset="-128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Syllabi and Glossary are translated in many languages by the ISTQB</a:t>
            </a:r>
            <a:r>
              <a:rPr lang="en-US" sz="1800" baseline="30000" dirty="0" smtClean="0">
                <a:solidFill>
                  <a:prstClr val="black"/>
                </a:solidFill>
                <a:ea typeface="ＭＳ Ｐゴシック" pitchFamily="34" charset="-128"/>
              </a:rPr>
              <a:t>®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34" charset="-128"/>
              </a:rPr>
              <a:t> Member Boards; please refer to their Websites to download free-of-charge the documents translated into local languages</a:t>
            </a:r>
            <a:endParaRPr lang="en-US" sz="1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60676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0000" y="1196752"/>
            <a:ext cx="6984000" cy="5306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olo 1"/>
          <p:cNvSpPr txBox="1">
            <a:spLocks/>
          </p:cNvSpPr>
          <p:nvPr/>
        </p:nvSpPr>
        <p:spPr bwMode="auto">
          <a:xfrm>
            <a:off x="111125" y="381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it-IT" sz="2400" b="1" kern="1200" dirty="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7" charset="0"/>
                <a:ea typeface="ＭＳ Ｐゴシック" pitchFamily="-107" charset="-128"/>
                <a:cs typeface="ＭＳ Ｐゴシック" pitchFamily="-107" charset="-128"/>
              </a:defRPr>
            </a:lvl9pPr>
          </a:lstStyle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</a:t>
            </a:r>
            <a:r>
              <a:rPr lang="de-DE" dirty="0"/>
              <a:t>LEVELS AND SYLLABI</a:t>
            </a:r>
          </a:p>
        </p:txBody>
      </p:sp>
    </p:spTree>
    <p:extLst>
      <p:ext uri="{BB962C8B-B14F-4D97-AF65-F5344CB8AC3E}">
        <p14:creationId xmlns:p14="http://schemas.microsoft.com/office/powerpoint/2010/main" val="418155215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  <p:grpSp>
        <p:nvGrpSpPr>
          <p:cNvPr id="35" name="Gruppo 34"/>
          <p:cNvGrpSpPr/>
          <p:nvPr/>
        </p:nvGrpSpPr>
        <p:grpSpPr>
          <a:xfrm>
            <a:off x="1831034" y="1838976"/>
            <a:ext cx="1186584" cy="474633"/>
            <a:chOff x="1003450" y="2583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9" name="Gallone 68"/>
            <p:cNvSpPr/>
            <p:nvPr/>
          </p:nvSpPr>
          <p:spPr>
            <a:xfrm>
              <a:off x="1003450" y="2583"/>
              <a:ext cx="1186584" cy="474633"/>
            </a:xfrm>
            <a:prstGeom prst="chevron">
              <a:avLst/>
            </a:prstGeom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0" name="Gallone 4"/>
            <p:cNvSpPr/>
            <p:nvPr/>
          </p:nvSpPr>
          <p:spPr>
            <a:xfrm>
              <a:off x="1240767" y="2583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800" b="1" dirty="0">
                  <a:latin typeface="Arial" pitchFamily="34" charset="0"/>
                  <a:cs typeface="Arial" pitchFamily="34" charset="0"/>
                </a:rPr>
                <a:t>3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" name="Gruppo 35"/>
          <p:cNvGrpSpPr/>
          <p:nvPr/>
        </p:nvGrpSpPr>
        <p:grpSpPr>
          <a:xfrm>
            <a:off x="2863363" y="1879320"/>
            <a:ext cx="4447534" cy="393946"/>
            <a:chOff x="2035779" y="42927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7" name="Gallone 66"/>
            <p:cNvSpPr/>
            <p:nvPr/>
          </p:nvSpPr>
          <p:spPr>
            <a:xfrm>
              <a:off x="2035779" y="42927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rgbClr r="0" g="0" b="0"/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8" name="Gallone 6"/>
            <p:cNvSpPr/>
            <p:nvPr/>
          </p:nvSpPr>
          <p:spPr>
            <a:xfrm>
              <a:off x="2232752" y="42927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latin typeface="Arial" charset="0"/>
                  <a:ea typeface="ＭＳ Ｐゴシック" pitchFamily="34" charset="-128"/>
                </a:rPr>
                <a:t>Syllabi and </a:t>
              </a: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tension</a:t>
              </a:r>
              <a:r>
                <a:rPr lang="en-US" sz="2000" dirty="0">
                  <a:latin typeface="Arial" charset="0"/>
                  <a:ea typeface="ＭＳ Ｐゴシック" pitchFamily="34" charset="-128"/>
                </a:rPr>
                <a:t>s</a:t>
              </a:r>
              <a:endParaRPr lang="en-US" sz="2400" dirty="0"/>
            </a:p>
          </p:txBody>
        </p:sp>
      </p:grpSp>
      <p:grpSp>
        <p:nvGrpSpPr>
          <p:cNvPr id="37" name="Gruppo 36"/>
          <p:cNvGrpSpPr/>
          <p:nvPr/>
        </p:nvGrpSpPr>
        <p:grpSpPr>
          <a:xfrm>
            <a:off x="2211308" y="2348880"/>
            <a:ext cx="1186584" cy="474633"/>
            <a:chOff x="1003450" y="543666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5" name="Gallone 64"/>
            <p:cNvSpPr/>
            <p:nvPr/>
          </p:nvSpPr>
          <p:spPr>
            <a:xfrm>
              <a:off x="1003450" y="543666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Gallone 8"/>
            <p:cNvSpPr/>
            <p:nvPr/>
          </p:nvSpPr>
          <p:spPr>
            <a:xfrm>
              <a:off x="1240767" y="543666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kern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.1</a:t>
              </a:r>
              <a:endParaRPr lang="en-US" sz="20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8" name="Gruppo 37"/>
          <p:cNvGrpSpPr/>
          <p:nvPr/>
        </p:nvGrpSpPr>
        <p:grpSpPr>
          <a:xfrm>
            <a:off x="3243638" y="2389224"/>
            <a:ext cx="4062778" cy="393946"/>
            <a:chOff x="2035779" y="584010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3" name="Gallone 62"/>
            <p:cNvSpPr/>
            <p:nvPr/>
          </p:nvSpPr>
          <p:spPr>
            <a:xfrm>
              <a:off x="2035779" y="584010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4" name="Gallone 10"/>
            <p:cNvSpPr/>
            <p:nvPr/>
          </p:nvSpPr>
          <p:spPr>
            <a:xfrm>
              <a:off x="2232752" y="584010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kern="1200" dirty="0" smtClean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General Introduction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39" name="Gruppo 38"/>
          <p:cNvGrpSpPr/>
          <p:nvPr/>
        </p:nvGrpSpPr>
        <p:grpSpPr>
          <a:xfrm>
            <a:off x="2211308" y="2889962"/>
            <a:ext cx="1186584" cy="474633"/>
            <a:chOff x="1003450" y="1084748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1" name="Gallone 60"/>
            <p:cNvSpPr/>
            <p:nvPr/>
          </p:nvSpPr>
          <p:spPr>
            <a:xfrm>
              <a:off x="1003450" y="1084748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solidFill>
                <a:schemeClr val="bg1">
                  <a:lumMod val="50000"/>
                </a:schemeClr>
              </a:solidFill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Gallone 12"/>
            <p:cNvSpPr/>
            <p:nvPr/>
          </p:nvSpPr>
          <p:spPr>
            <a:xfrm>
              <a:off x="1240767" y="1084748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dirty="0" smtClean="0">
                  <a:latin typeface="Arial" pitchFamily="34" charset="0"/>
                  <a:cs typeface="Arial" pitchFamily="34" charset="0"/>
                </a:rPr>
                <a:t>3.2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uppo 39"/>
          <p:cNvGrpSpPr/>
          <p:nvPr/>
        </p:nvGrpSpPr>
        <p:grpSpPr>
          <a:xfrm>
            <a:off x="3243638" y="2930306"/>
            <a:ext cx="4063156" cy="393946"/>
            <a:chOff x="2035779" y="1125092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9" name="Gallone 58"/>
            <p:cNvSpPr/>
            <p:nvPr/>
          </p:nvSpPr>
          <p:spPr>
            <a:xfrm>
              <a:off x="2035779" y="1125092"/>
              <a:ext cx="4447948" cy="393946"/>
            </a:xfrm>
            <a:prstGeom prst="chevron">
              <a:avLst/>
            </a:prstGeom>
            <a:ln w="57150">
              <a:solidFill>
                <a:schemeClr val="bg1">
                  <a:lumMod val="50000"/>
                  <a:alpha val="90000"/>
                </a:schemeClr>
              </a:solidFill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Gallone 14"/>
            <p:cNvSpPr/>
            <p:nvPr/>
          </p:nvSpPr>
          <p:spPr>
            <a:xfrm>
              <a:off x="2232752" y="1125092"/>
              <a:ext cx="4054002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Foundation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1" name="Gruppo 40"/>
          <p:cNvGrpSpPr/>
          <p:nvPr/>
        </p:nvGrpSpPr>
        <p:grpSpPr>
          <a:xfrm>
            <a:off x="2211308" y="3431045"/>
            <a:ext cx="1186584" cy="474633"/>
            <a:chOff x="1003450" y="1625831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57" name="Gallone 56"/>
            <p:cNvSpPr/>
            <p:nvPr/>
          </p:nvSpPr>
          <p:spPr>
            <a:xfrm>
              <a:off x="1003450" y="1625831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8" name="Gallone 16"/>
            <p:cNvSpPr/>
            <p:nvPr/>
          </p:nvSpPr>
          <p:spPr>
            <a:xfrm>
              <a:off x="1240767" y="1625831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kern="1200" dirty="0" smtClean="0">
                  <a:latin typeface="Arial" pitchFamily="34" charset="0"/>
                  <a:cs typeface="Arial" pitchFamily="34" charset="0"/>
                </a:rPr>
                <a:t>3.3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2" name="Gruppo 41"/>
          <p:cNvGrpSpPr/>
          <p:nvPr/>
        </p:nvGrpSpPr>
        <p:grpSpPr>
          <a:xfrm>
            <a:off x="3243637" y="3471389"/>
            <a:ext cx="4062058" cy="393946"/>
            <a:chOff x="2035779" y="1666175"/>
            <a:chExt cx="4446746" cy="393946"/>
          </a:xfrm>
          <a:scene3d>
            <a:camera prst="orthographicFront"/>
            <a:lightRig rig="chilly" dir="t"/>
          </a:scene3d>
        </p:grpSpPr>
        <p:sp>
          <p:nvSpPr>
            <p:cNvPr id="55" name="Gallone 54"/>
            <p:cNvSpPr/>
            <p:nvPr/>
          </p:nvSpPr>
          <p:spPr>
            <a:xfrm>
              <a:off x="2035779" y="1666175"/>
              <a:ext cx="4446746" cy="393946"/>
            </a:xfrm>
            <a:prstGeom prst="chevron">
              <a:avLst/>
            </a:prstGeom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Gallone 18"/>
            <p:cNvSpPr/>
            <p:nvPr/>
          </p:nvSpPr>
          <p:spPr>
            <a:xfrm>
              <a:off x="2232752" y="1666175"/>
              <a:ext cx="4052800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gile Tester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3" name="Gruppo 42"/>
          <p:cNvGrpSpPr/>
          <p:nvPr/>
        </p:nvGrpSpPr>
        <p:grpSpPr>
          <a:xfrm>
            <a:off x="2211308" y="3972128"/>
            <a:ext cx="1186584" cy="474633"/>
            <a:chOff x="1003450" y="2166914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53" name="Gallone 52"/>
            <p:cNvSpPr/>
            <p:nvPr/>
          </p:nvSpPr>
          <p:spPr>
            <a:xfrm>
              <a:off x="1003450" y="2166914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Gallone 20"/>
            <p:cNvSpPr/>
            <p:nvPr/>
          </p:nvSpPr>
          <p:spPr>
            <a:xfrm>
              <a:off x="1240767" y="2166914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pitchFamily="34" charset="0"/>
                  <a:cs typeface="Arial" pitchFamily="34" charset="0"/>
                </a:rPr>
                <a:t>3.4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uppo 43"/>
          <p:cNvGrpSpPr/>
          <p:nvPr/>
        </p:nvGrpSpPr>
        <p:grpSpPr>
          <a:xfrm>
            <a:off x="3243638" y="4012472"/>
            <a:ext cx="4063156" cy="393946"/>
            <a:chOff x="2035779" y="2207258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1" name="Gallone 50"/>
            <p:cNvSpPr/>
            <p:nvPr/>
          </p:nvSpPr>
          <p:spPr>
            <a:xfrm>
              <a:off x="2035779" y="2207258"/>
              <a:ext cx="4447948" cy="393946"/>
            </a:xfrm>
            <a:prstGeom prst="chevron">
              <a:avLst/>
            </a:prstGeom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Gallone 22"/>
            <p:cNvSpPr/>
            <p:nvPr/>
          </p:nvSpPr>
          <p:spPr>
            <a:xfrm>
              <a:off x="2232752" y="2207258"/>
              <a:ext cx="4054002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dvanced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5" name="Gruppo 44"/>
          <p:cNvGrpSpPr/>
          <p:nvPr/>
        </p:nvGrpSpPr>
        <p:grpSpPr>
          <a:xfrm>
            <a:off x="2211308" y="4513211"/>
            <a:ext cx="1186584" cy="474633"/>
            <a:chOff x="1003450" y="2707997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49" name="Gallone 48"/>
            <p:cNvSpPr/>
            <p:nvPr/>
          </p:nvSpPr>
          <p:spPr>
            <a:xfrm>
              <a:off x="1003450" y="2707997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Gallone 24"/>
            <p:cNvSpPr/>
            <p:nvPr/>
          </p:nvSpPr>
          <p:spPr>
            <a:xfrm>
              <a:off x="1240767" y="2707997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charset="0"/>
                  <a:ea typeface="ＭＳ Ｐゴシック" pitchFamily="34" charset="-128"/>
                </a:rPr>
                <a:t>3.5</a:t>
              </a:r>
              <a:endParaRPr lang="en-US" sz="2000" b="1" kern="1200" dirty="0"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6" name="Gruppo 45"/>
          <p:cNvGrpSpPr/>
          <p:nvPr/>
        </p:nvGrpSpPr>
        <p:grpSpPr>
          <a:xfrm>
            <a:off x="3243637" y="4553555"/>
            <a:ext cx="4064667" cy="393946"/>
            <a:chOff x="2035779" y="2748341"/>
            <a:chExt cx="4449602" cy="393946"/>
          </a:xfrm>
          <a:scene3d>
            <a:camera prst="orthographicFront"/>
            <a:lightRig rig="chilly" dir="t"/>
          </a:scene3d>
        </p:grpSpPr>
        <p:sp>
          <p:nvSpPr>
            <p:cNvPr id="47" name="Gallone 46"/>
            <p:cNvSpPr/>
            <p:nvPr/>
          </p:nvSpPr>
          <p:spPr>
            <a:xfrm>
              <a:off x="2035779" y="2748341"/>
              <a:ext cx="4449602" cy="393946"/>
            </a:xfrm>
            <a:prstGeom prst="chevron">
              <a:avLst/>
            </a:prstGeom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Gallone 26"/>
            <p:cNvSpPr/>
            <p:nvPr/>
          </p:nvSpPr>
          <p:spPr>
            <a:xfrm>
              <a:off x="2232752" y="2748341"/>
              <a:ext cx="4055656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pert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18399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feld 7"/>
          <p:cNvSpPr txBox="1">
            <a:spLocks noChangeArrowheads="1"/>
          </p:cNvSpPr>
          <p:nvPr/>
        </p:nvSpPr>
        <p:spPr bwMode="auto">
          <a:xfrm>
            <a:off x="1043608" y="1355568"/>
            <a:ext cx="527208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de-DE" sz="1600" b="1" dirty="0" smtClean="0">
              <a:solidFill>
                <a:schemeClr val="bg1"/>
              </a:solidFill>
            </a:endParaRP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de-DE" sz="1700" b="1" dirty="0">
              <a:solidFill>
                <a:schemeClr val="bg1"/>
              </a:solidFill>
              <a:latin typeface="arial-Bold" charset="0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FOUNDATION LEVEL</a:t>
            </a:r>
            <a:endParaRPr lang="it-IT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685" y="1281543"/>
            <a:ext cx="6904631" cy="514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976925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  <p:grpSp>
        <p:nvGrpSpPr>
          <p:cNvPr id="35" name="Gruppo 34"/>
          <p:cNvGrpSpPr/>
          <p:nvPr/>
        </p:nvGrpSpPr>
        <p:grpSpPr>
          <a:xfrm>
            <a:off x="1831034" y="1838976"/>
            <a:ext cx="1186584" cy="474633"/>
            <a:chOff x="1003450" y="2583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9" name="Gallone 68"/>
            <p:cNvSpPr/>
            <p:nvPr/>
          </p:nvSpPr>
          <p:spPr>
            <a:xfrm>
              <a:off x="1003450" y="2583"/>
              <a:ext cx="1186584" cy="474633"/>
            </a:xfrm>
            <a:prstGeom prst="chevron">
              <a:avLst/>
            </a:prstGeom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0" name="Gallone 4"/>
            <p:cNvSpPr/>
            <p:nvPr/>
          </p:nvSpPr>
          <p:spPr>
            <a:xfrm>
              <a:off x="1240767" y="2583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800" b="1" dirty="0">
                  <a:latin typeface="Arial" pitchFamily="34" charset="0"/>
                  <a:cs typeface="Arial" pitchFamily="34" charset="0"/>
                </a:rPr>
                <a:t>3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" name="Gruppo 35"/>
          <p:cNvGrpSpPr/>
          <p:nvPr/>
        </p:nvGrpSpPr>
        <p:grpSpPr>
          <a:xfrm>
            <a:off x="2863363" y="1879320"/>
            <a:ext cx="4447534" cy="393946"/>
            <a:chOff x="2035779" y="42927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7" name="Gallone 66"/>
            <p:cNvSpPr/>
            <p:nvPr/>
          </p:nvSpPr>
          <p:spPr>
            <a:xfrm>
              <a:off x="2035779" y="42927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rgbClr r="0" g="0" b="0"/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8" name="Gallone 6"/>
            <p:cNvSpPr/>
            <p:nvPr/>
          </p:nvSpPr>
          <p:spPr>
            <a:xfrm>
              <a:off x="2232752" y="42927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latin typeface="Arial" charset="0"/>
                  <a:ea typeface="ＭＳ Ｐゴシック" pitchFamily="34" charset="-128"/>
                </a:rPr>
                <a:t>Syllabi and </a:t>
              </a: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tension</a:t>
              </a:r>
              <a:r>
                <a:rPr lang="en-US" sz="2000" dirty="0">
                  <a:latin typeface="Arial" charset="0"/>
                  <a:ea typeface="ＭＳ Ｐゴシック" pitchFamily="34" charset="-128"/>
                </a:rPr>
                <a:t>s</a:t>
              </a:r>
              <a:endParaRPr lang="en-US" sz="2400" dirty="0"/>
            </a:p>
          </p:txBody>
        </p:sp>
      </p:grpSp>
      <p:grpSp>
        <p:nvGrpSpPr>
          <p:cNvPr id="37" name="Gruppo 36"/>
          <p:cNvGrpSpPr/>
          <p:nvPr/>
        </p:nvGrpSpPr>
        <p:grpSpPr>
          <a:xfrm>
            <a:off x="2211308" y="2348880"/>
            <a:ext cx="1186584" cy="474633"/>
            <a:chOff x="1003450" y="543666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5" name="Gallone 64"/>
            <p:cNvSpPr/>
            <p:nvPr/>
          </p:nvSpPr>
          <p:spPr>
            <a:xfrm>
              <a:off x="1003450" y="543666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Gallone 8"/>
            <p:cNvSpPr/>
            <p:nvPr/>
          </p:nvSpPr>
          <p:spPr>
            <a:xfrm>
              <a:off x="1240767" y="543666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kern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.1</a:t>
              </a:r>
              <a:endParaRPr lang="en-US" sz="20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8" name="Gruppo 37"/>
          <p:cNvGrpSpPr/>
          <p:nvPr/>
        </p:nvGrpSpPr>
        <p:grpSpPr>
          <a:xfrm>
            <a:off x="3243638" y="2389224"/>
            <a:ext cx="4062778" cy="393946"/>
            <a:chOff x="2035779" y="584010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3" name="Gallone 62"/>
            <p:cNvSpPr/>
            <p:nvPr/>
          </p:nvSpPr>
          <p:spPr>
            <a:xfrm>
              <a:off x="2035779" y="584010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4" name="Gallone 10"/>
            <p:cNvSpPr/>
            <p:nvPr/>
          </p:nvSpPr>
          <p:spPr>
            <a:xfrm>
              <a:off x="2232752" y="584010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kern="1200" dirty="0" smtClean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General Introduction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39" name="Gruppo 38"/>
          <p:cNvGrpSpPr/>
          <p:nvPr/>
        </p:nvGrpSpPr>
        <p:grpSpPr>
          <a:xfrm>
            <a:off x="2211308" y="2889962"/>
            <a:ext cx="1186584" cy="474633"/>
            <a:chOff x="1003450" y="1084748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1" name="Gallone 60"/>
            <p:cNvSpPr/>
            <p:nvPr/>
          </p:nvSpPr>
          <p:spPr>
            <a:xfrm>
              <a:off x="1003450" y="1084748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Gallone 12"/>
            <p:cNvSpPr/>
            <p:nvPr/>
          </p:nvSpPr>
          <p:spPr>
            <a:xfrm>
              <a:off x="1240767" y="1084748"/>
              <a:ext cx="711951" cy="474633"/>
            </a:xfrm>
            <a:prstGeom prst="rect">
              <a:avLst/>
            </a:prstGeom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dirty="0" smtClean="0">
                  <a:latin typeface="Arial" pitchFamily="34" charset="0"/>
                  <a:cs typeface="Arial" pitchFamily="34" charset="0"/>
                </a:rPr>
                <a:t>3.2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uppo 39"/>
          <p:cNvGrpSpPr/>
          <p:nvPr/>
        </p:nvGrpSpPr>
        <p:grpSpPr>
          <a:xfrm>
            <a:off x="3243638" y="2930306"/>
            <a:ext cx="4063156" cy="393946"/>
            <a:chOff x="2035779" y="1125092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9" name="Gallone 58"/>
            <p:cNvSpPr/>
            <p:nvPr/>
          </p:nvSpPr>
          <p:spPr>
            <a:xfrm>
              <a:off x="2035779" y="1125092"/>
              <a:ext cx="4447948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Gallone 14"/>
            <p:cNvSpPr/>
            <p:nvPr/>
          </p:nvSpPr>
          <p:spPr>
            <a:xfrm>
              <a:off x="2232752" y="1125092"/>
              <a:ext cx="4054002" cy="393946"/>
            </a:xfrm>
            <a:prstGeom prst="rect">
              <a:avLst/>
            </a:prstGeom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Foundation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57" name="Gallone 56"/>
          <p:cNvSpPr/>
          <p:nvPr/>
        </p:nvSpPr>
        <p:spPr>
          <a:xfrm>
            <a:off x="2211308" y="3431045"/>
            <a:ext cx="1186584" cy="474633"/>
          </a:xfrm>
          <a:prstGeom prst="chevron">
            <a:avLst/>
          </a:prstGeom>
          <a:solidFill>
            <a:schemeClr val="bg1">
              <a:lumMod val="65000"/>
            </a:schemeClr>
          </a:solidFill>
          <a:ln w="76200"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it-IT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3</a:t>
            </a:r>
          </a:p>
        </p:txBody>
      </p:sp>
      <p:grpSp>
        <p:nvGrpSpPr>
          <p:cNvPr id="42" name="Gruppo 41"/>
          <p:cNvGrpSpPr/>
          <p:nvPr/>
        </p:nvGrpSpPr>
        <p:grpSpPr>
          <a:xfrm>
            <a:off x="3243637" y="3471389"/>
            <a:ext cx="4062058" cy="393946"/>
            <a:chOff x="2035779" y="1666175"/>
            <a:chExt cx="4446746" cy="393946"/>
          </a:xfrm>
          <a:scene3d>
            <a:camera prst="orthographicFront"/>
            <a:lightRig rig="chilly" dir="t"/>
          </a:scene3d>
        </p:grpSpPr>
        <p:sp>
          <p:nvSpPr>
            <p:cNvPr id="55" name="Gallone 54"/>
            <p:cNvSpPr/>
            <p:nvPr/>
          </p:nvSpPr>
          <p:spPr>
            <a:xfrm>
              <a:off x="2035779" y="1666175"/>
              <a:ext cx="4446746" cy="393946"/>
            </a:xfrm>
            <a:prstGeom prst="chevron">
              <a:avLst/>
            </a:prstGeom>
            <a:ln w="57150">
              <a:solidFill>
                <a:schemeClr val="bg1">
                  <a:lumMod val="50000"/>
                  <a:alpha val="90000"/>
                </a:schemeClr>
              </a:solidFill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Gallone 18"/>
            <p:cNvSpPr/>
            <p:nvPr/>
          </p:nvSpPr>
          <p:spPr>
            <a:xfrm>
              <a:off x="2232752" y="1666175"/>
              <a:ext cx="4052800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gile Tester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3" name="Gruppo 42"/>
          <p:cNvGrpSpPr/>
          <p:nvPr/>
        </p:nvGrpSpPr>
        <p:grpSpPr>
          <a:xfrm>
            <a:off x="2211308" y="3972128"/>
            <a:ext cx="1186584" cy="474633"/>
            <a:chOff x="1003450" y="2166914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53" name="Gallone 52"/>
            <p:cNvSpPr/>
            <p:nvPr/>
          </p:nvSpPr>
          <p:spPr>
            <a:xfrm>
              <a:off x="1003450" y="2166914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Gallone 20"/>
            <p:cNvSpPr/>
            <p:nvPr/>
          </p:nvSpPr>
          <p:spPr>
            <a:xfrm>
              <a:off x="1240767" y="2166914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pitchFamily="34" charset="0"/>
                  <a:cs typeface="Arial" pitchFamily="34" charset="0"/>
                </a:rPr>
                <a:t>3.4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uppo 43"/>
          <p:cNvGrpSpPr/>
          <p:nvPr/>
        </p:nvGrpSpPr>
        <p:grpSpPr>
          <a:xfrm>
            <a:off x="3243638" y="4012472"/>
            <a:ext cx="4063156" cy="393946"/>
            <a:chOff x="2035779" y="2207258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1" name="Gallone 50"/>
            <p:cNvSpPr/>
            <p:nvPr/>
          </p:nvSpPr>
          <p:spPr>
            <a:xfrm>
              <a:off x="2035779" y="2207258"/>
              <a:ext cx="4447948" cy="393946"/>
            </a:xfrm>
            <a:prstGeom prst="chevron">
              <a:avLst/>
            </a:prstGeom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Gallone 22"/>
            <p:cNvSpPr/>
            <p:nvPr/>
          </p:nvSpPr>
          <p:spPr>
            <a:xfrm>
              <a:off x="2232752" y="2207258"/>
              <a:ext cx="4054002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dvanced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5" name="Gruppo 44"/>
          <p:cNvGrpSpPr/>
          <p:nvPr/>
        </p:nvGrpSpPr>
        <p:grpSpPr>
          <a:xfrm>
            <a:off x="2211308" y="4513211"/>
            <a:ext cx="1186584" cy="474633"/>
            <a:chOff x="1003450" y="2707997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49" name="Gallone 48"/>
            <p:cNvSpPr/>
            <p:nvPr/>
          </p:nvSpPr>
          <p:spPr>
            <a:xfrm>
              <a:off x="1003450" y="2707997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Gallone 24"/>
            <p:cNvSpPr/>
            <p:nvPr/>
          </p:nvSpPr>
          <p:spPr>
            <a:xfrm>
              <a:off x="1240767" y="2707997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charset="0"/>
                  <a:ea typeface="ＭＳ Ｐゴシック" pitchFamily="34" charset="-128"/>
                </a:rPr>
                <a:t>3.5</a:t>
              </a:r>
              <a:endParaRPr lang="en-US" sz="2000" b="1" kern="1200" dirty="0"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6" name="Gruppo 45"/>
          <p:cNvGrpSpPr/>
          <p:nvPr/>
        </p:nvGrpSpPr>
        <p:grpSpPr>
          <a:xfrm>
            <a:off x="3243637" y="4553555"/>
            <a:ext cx="4064667" cy="393946"/>
            <a:chOff x="2035779" y="2748341"/>
            <a:chExt cx="4449602" cy="393946"/>
          </a:xfrm>
          <a:scene3d>
            <a:camera prst="orthographicFront"/>
            <a:lightRig rig="chilly" dir="t"/>
          </a:scene3d>
        </p:grpSpPr>
        <p:sp>
          <p:nvSpPr>
            <p:cNvPr id="47" name="Gallone 46"/>
            <p:cNvSpPr/>
            <p:nvPr/>
          </p:nvSpPr>
          <p:spPr>
            <a:xfrm>
              <a:off x="2035779" y="2748341"/>
              <a:ext cx="4449602" cy="393946"/>
            </a:xfrm>
            <a:prstGeom prst="chevron">
              <a:avLst/>
            </a:prstGeom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Gallone 26"/>
            <p:cNvSpPr/>
            <p:nvPr/>
          </p:nvSpPr>
          <p:spPr>
            <a:xfrm>
              <a:off x="2232752" y="2748341"/>
              <a:ext cx="4055656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pert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36974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</a:pPr>
            <a:r>
              <a:rPr lang="en-US" sz="1800" dirty="0" smtClean="0"/>
              <a:t>In order to satisfy </a:t>
            </a:r>
            <a:r>
              <a:rPr lang="en-US" sz="1800" dirty="0"/>
              <a:t>the increasing demand for </a:t>
            </a:r>
            <a:r>
              <a:rPr lang="en-US" sz="1800" dirty="0" smtClean="0"/>
              <a:t>vertical testing competences, 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has introduced the concept of “Extension”</a:t>
            </a:r>
            <a:endParaRPr lang="en-US" sz="1800" dirty="0"/>
          </a:p>
          <a:p>
            <a:pPr>
              <a:spcBef>
                <a:spcPts val="600"/>
              </a:spcBef>
            </a:pPr>
            <a:r>
              <a:rPr lang="en-US" sz="1800" dirty="0"/>
              <a:t>An “</a:t>
            </a:r>
            <a:r>
              <a:rPr lang="en-US" sz="1800" dirty="0" smtClean="0"/>
              <a:t>Extension” </a:t>
            </a:r>
            <a:r>
              <a:rPr lang="en-US" sz="1800" dirty="0"/>
              <a:t>is </a:t>
            </a:r>
            <a:r>
              <a:rPr lang="en-US" sz="1800" dirty="0" smtClean="0"/>
              <a:t>a </a:t>
            </a:r>
            <a:r>
              <a:rPr lang="en-US" sz="1800" dirty="0"/>
              <a:t>training and certification module </a:t>
            </a:r>
            <a:r>
              <a:rPr lang="en-US" sz="1800" dirty="0" smtClean="0"/>
              <a:t>focused on a specific topic, for instance: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Domain-specific </a:t>
            </a:r>
            <a:r>
              <a:rPr lang="en-US" sz="1800" dirty="0" smtClean="0"/>
              <a:t>testing practices</a:t>
            </a:r>
            <a:endParaRPr lang="en-US" sz="1800" dirty="0"/>
          </a:p>
          <a:p>
            <a:pPr lvl="1">
              <a:spcBef>
                <a:spcPts val="600"/>
              </a:spcBef>
            </a:pPr>
            <a:r>
              <a:rPr lang="en-US" sz="1800" dirty="0" smtClean="0"/>
              <a:t>Specific Testing </a:t>
            </a:r>
            <a:r>
              <a:rPr lang="en-US" sz="1800" dirty="0"/>
              <a:t>Technique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Specific Testing Methods</a:t>
            </a:r>
          </a:p>
          <a:p>
            <a:pPr>
              <a:spcBef>
                <a:spcPts val="600"/>
              </a:spcBef>
            </a:pPr>
            <a:r>
              <a:rPr lang="en-US" sz="1800" dirty="0" smtClean="0"/>
              <a:t>The 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Foundation Level Certification is </a:t>
            </a:r>
            <a:r>
              <a:rPr lang="en-US" sz="1800" dirty="0"/>
              <a:t>a </a:t>
            </a:r>
            <a:r>
              <a:rPr lang="en-US" sz="1800" dirty="0" smtClean="0"/>
              <a:t>pre-requisite</a:t>
            </a:r>
          </a:p>
          <a:p>
            <a:pPr>
              <a:spcBef>
                <a:spcPts val="600"/>
              </a:spcBef>
            </a:pPr>
            <a:r>
              <a:rPr lang="en-US" sz="1800" dirty="0" smtClean="0"/>
              <a:t>The first extension is focused on “Agile Tester”, released in June 2014</a:t>
            </a:r>
          </a:p>
          <a:p>
            <a:pPr>
              <a:spcBef>
                <a:spcPts val="600"/>
              </a:spcBef>
            </a:pPr>
            <a:r>
              <a:rPr lang="en-AU" sz="1800" dirty="0" smtClean="0"/>
              <a:t>MBT (Model-Based Testing) extension is also in road-map</a:t>
            </a:r>
            <a:endParaRPr lang="en-US" sz="1800" strike="sngStrike" dirty="0">
              <a:solidFill>
                <a:srgbClr val="FF0000"/>
              </a:solidFill>
            </a:endParaRPr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STQB</a:t>
            </a:r>
            <a:r>
              <a:rPr lang="it-IT" baseline="30000" dirty="0" smtClean="0"/>
              <a:t>®</a:t>
            </a:r>
            <a:r>
              <a:rPr lang="it-IT" dirty="0" smtClean="0"/>
              <a:t> EXTENSION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647928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Agile testers should: 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Collaborate </a:t>
            </a:r>
            <a:r>
              <a:rPr lang="en-US" sz="1800" dirty="0"/>
              <a:t>in </a:t>
            </a:r>
            <a:r>
              <a:rPr lang="en-US" sz="1800" dirty="0" smtClean="0"/>
              <a:t>an agile team, </a:t>
            </a:r>
            <a:r>
              <a:rPr lang="en-US" sz="1800" dirty="0"/>
              <a:t>being familiar with </a:t>
            </a:r>
            <a:r>
              <a:rPr lang="en-US" sz="1800" dirty="0" smtClean="0"/>
              <a:t>agile principles </a:t>
            </a:r>
            <a:r>
              <a:rPr lang="en-US" sz="1800" dirty="0"/>
              <a:t>and </a:t>
            </a:r>
            <a:r>
              <a:rPr lang="en-US" sz="1800" dirty="0" smtClean="0"/>
              <a:t>practices </a:t>
            </a:r>
          </a:p>
          <a:p>
            <a:pPr lvl="1">
              <a:defRPr/>
            </a:pPr>
            <a:r>
              <a:rPr lang="en-US" sz="1800" dirty="0" smtClean="0"/>
              <a:t>Adapt </a:t>
            </a:r>
            <a:r>
              <a:rPr lang="en-US" sz="1800" dirty="0"/>
              <a:t>existing testing </a:t>
            </a:r>
            <a:r>
              <a:rPr lang="en-US" sz="1800" dirty="0" smtClean="0"/>
              <a:t>experience, knowledge, and best practices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Support </a:t>
            </a:r>
            <a:r>
              <a:rPr lang="en-US" sz="1800" dirty="0"/>
              <a:t>the agile team in planning test related activities</a:t>
            </a:r>
          </a:p>
          <a:p>
            <a:pPr lvl="1">
              <a:defRPr/>
            </a:pPr>
            <a:r>
              <a:rPr lang="en-US" sz="1800" dirty="0" smtClean="0"/>
              <a:t>Apply </a:t>
            </a:r>
            <a:r>
              <a:rPr lang="en-US" sz="1800" dirty="0"/>
              <a:t>relevant </a:t>
            </a:r>
            <a:r>
              <a:rPr lang="en-US" sz="1800" dirty="0" smtClean="0"/>
              <a:t>test methods </a:t>
            </a:r>
            <a:r>
              <a:rPr lang="en-US" sz="1800" dirty="0"/>
              <a:t>and </a:t>
            </a:r>
            <a:r>
              <a:rPr lang="en-US" sz="1800" dirty="0" smtClean="0"/>
              <a:t>techniques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Assist in </a:t>
            </a:r>
            <a:r>
              <a:rPr lang="en-US" sz="1800" dirty="0"/>
              <a:t>test </a:t>
            </a:r>
            <a:r>
              <a:rPr lang="en-US" sz="1800" dirty="0" smtClean="0"/>
              <a:t>automation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Help business </a:t>
            </a:r>
            <a:r>
              <a:rPr lang="en-US" sz="1800" dirty="0"/>
              <a:t>stakeholders </a:t>
            </a:r>
            <a:r>
              <a:rPr lang="en-US" sz="1800" dirty="0" smtClean="0"/>
              <a:t>define understandable and testable user stories and </a:t>
            </a:r>
            <a:r>
              <a:rPr lang="en-US" sz="1800" dirty="0"/>
              <a:t>acceptance </a:t>
            </a:r>
            <a:r>
              <a:rPr lang="en-US" sz="1800" dirty="0" smtClean="0"/>
              <a:t>criteria</a:t>
            </a:r>
            <a:endParaRPr lang="en-US" sz="1800" dirty="0"/>
          </a:p>
          <a:p>
            <a:pPr lvl="1">
              <a:spcAft>
                <a:spcPts val="600"/>
              </a:spcAft>
              <a:defRPr/>
            </a:pPr>
            <a:r>
              <a:rPr lang="en-US" sz="1800" dirty="0" smtClean="0"/>
              <a:t>Work </a:t>
            </a:r>
            <a:r>
              <a:rPr lang="en-US" sz="1800" dirty="0"/>
              <a:t>and share information </a:t>
            </a:r>
            <a:r>
              <a:rPr lang="en-US" sz="1800" dirty="0" smtClean="0"/>
              <a:t>with </a:t>
            </a:r>
            <a:r>
              <a:rPr lang="en-US" sz="1800" dirty="0"/>
              <a:t>other team </a:t>
            </a:r>
            <a:r>
              <a:rPr lang="en-US" sz="1800" dirty="0" smtClean="0"/>
              <a:t>members</a:t>
            </a:r>
            <a:endParaRPr lang="en-US" sz="1800" dirty="0"/>
          </a:p>
          <a:p>
            <a:pPr>
              <a:defRPr/>
            </a:pPr>
            <a:r>
              <a:rPr lang="en-US" sz="1800" dirty="0" smtClean="0"/>
              <a:t>An 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Agile </a:t>
            </a:r>
            <a:r>
              <a:rPr lang="en-US" sz="1800" dirty="0"/>
              <a:t>Tester </a:t>
            </a:r>
            <a:r>
              <a:rPr lang="en-US" sz="1800" dirty="0" smtClean="0"/>
              <a:t>should work </a:t>
            </a:r>
            <a:r>
              <a:rPr lang="en-US" sz="1800" dirty="0"/>
              <a:t>effectively within an agile team and </a:t>
            </a:r>
            <a:r>
              <a:rPr lang="en-US" sz="1800" dirty="0" smtClean="0"/>
              <a:t>environment</a:t>
            </a:r>
          </a:p>
        </p:txBody>
      </p:sp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THE CONTRIBUTION OF AGILE TESTERS</a:t>
            </a:r>
          </a:p>
        </p:txBody>
      </p:sp>
    </p:spTree>
    <p:extLst>
      <p:ext uri="{BB962C8B-B14F-4D97-AF65-F5344CB8AC3E}">
        <p14:creationId xmlns:p14="http://schemas.microsoft.com/office/powerpoint/2010/main" val="151477014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2764903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it-IT" sz="1800" dirty="0" smtClean="0"/>
              <a:t>ISTQB</a:t>
            </a:r>
            <a:r>
              <a:rPr lang="en-US" sz="1800" baseline="30000" dirty="0" smtClean="0"/>
              <a:t>®</a:t>
            </a:r>
            <a:r>
              <a:rPr lang="it-IT" sz="1800" dirty="0" smtClean="0"/>
              <a:t>: International Software </a:t>
            </a:r>
            <a:r>
              <a:rPr lang="en-GB" sz="1800" dirty="0" smtClean="0"/>
              <a:t>Testing Qualifications Board (</a:t>
            </a:r>
            <a:r>
              <a:rPr lang="en-GB" sz="1800" dirty="0" smtClean="0">
                <a:hlinkClick r:id="rId3"/>
              </a:rPr>
              <a:t>www.istqb.org</a:t>
            </a:r>
            <a:r>
              <a:rPr lang="en-GB" sz="1800" dirty="0" smtClean="0"/>
              <a:t>): </a:t>
            </a:r>
            <a:endParaRPr lang="en-GB" sz="1800" dirty="0"/>
          </a:p>
          <a:p>
            <a:pPr lvl="1">
              <a:spcBef>
                <a:spcPts val="600"/>
              </a:spcBef>
              <a:defRPr/>
            </a:pPr>
            <a:r>
              <a:rPr lang="en-US" sz="1800" dirty="0"/>
              <a:t>N</a:t>
            </a:r>
            <a:r>
              <a:rPr lang="en-US" sz="1800" dirty="0" smtClean="0"/>
              <a:t>on-profit association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800" dirty="0" smtClean="0"/>
              <a:t>Founded in 2002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800" dirty="0"/>
              <a:t>Headquartered in Belgium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800" dirty="0" smtClean="0"/>
              <a:t>Has its own constitution, rules and regulations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800" dirty="0" smtClean="0"/>
              <a:t>Composed of volunteer international Testing Experts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 smtClean="0"/>
              <a:t>Responsible for </a:t>
            </a:r>
            <a:r>
              <a:rPr lang="en-US" sz="1800" dirty="0"/>
              <a:t>the “I</a:t>
            </a:r>
            <a:r>
              <a:rPr lang="en-US" sz="1800" dirty="0" smtClean="0"/>
              <a:t>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Certified Tester” scheme worldwide</a:t>
            </a:r>
            <a:endParaRPr lang="en-GB" sz="1800" dirty="0" smtClean="0"/>
          </a:p>
          <a:p>
            <a:pPr>
              <a:spcBef>
                <a:spcPts val="600"/>
              </a:spcBef>
              <a:defRPr/>
            </a:pPr>
            <a:r>
              <a:rPr lang="en-GB" sz="1800" dirty="0" smtClean="0"/>
              <a:t>ISTQB</a:t>
            </a:r>
            <a:r>
              <a:rPr lang="en-US" sz="1800" baseline="30000" dirty="0" smtClean="0"/>
              <a:t>®</a:t>
            </a:r>
            <a:r>
              <a:rPr lang="en-GB" sz="1800" dirty="0" smtClean="0"/>
              <a:t> is the world’s leading organization </a:t>
            </a:r>
            <a:r>
              <a:rPr lang="en-US" sz="1800" dirty="0" smtClean="0"/>
              <a:t>for Software Testing Certification</a:t>
            </a:r>
          </a:p>
          <a:p>
            <a:pPr>
              <a:defRPr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 marL="0" algn="just">
              <a:spcBef>
                <a:spcPts val="0"/>
              </a:spcBef>
              <a:buFont typeface="Wingdings" pitchFamily="2" charset="2"/>
              <a:buNone/>
              <a:defRPr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latin typeface="+mn-lt"/>
              </a:rPr>
              <a:t>WHAT  IS THE  ISTQB</a:t>
            </a:r>
            <a:r>
              <a:rPr lang="it-IT" baseline="30000" dirty="0" smtClean="0">
                <a:latin typeface="+mn-lt"/>
              </a:rPr>
              <a:t>®</a:t>
            </a:r>
            <a:r>
              <a:rPr lang="it-IT" dirty="0" smtClean="0">
                <a:latin typeface="+mn-lt"/>
              </a:rPr>
              <a:t>?</a:t>
            </a:r>
            <a:endParaRPr lang="it-IT" dirty="0">
              <a:latin typeface="+mn-lt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0" y="4985881"/>
            <a:ext cx="9144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4000" i="1" dirty="0">
                <a:solidFill>
                  <a:srgbClr val="002D55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34" charset="-128"/>
                <a:cs typeface="Arial" pitchFamily="34" charset="0"/>
              </a:rPr>
              <a:t>Advancing </a:t>
            </a:r>
            <a:endParaRPr lang="en-US" sz="4000" i="1" dirty="0" smtClean="0">
              <a:solidFill>
                <a:srgbClr val="002D55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a typeface="ＭＳ Ｐゴシック" pitchFamily="34" charset="-128"/>
              <a:cs typeface="Arial" pitchFamily="34" charset="0"/>
            </a:endParaRPr>
          </a:p>
          <a:p>
            <a:pPr lvl="0" algn="ctr"/>
            <a:r>
              <a:rPr lang="en-US" sz="4000" i="1" dirty="0" smtClean="0">
                <a:solidFill>
                  <a:srgbClr val="002D55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34" charset="-128"/>
                <a:cs typeface="Arial" pitchFamily="34" charset="0"/>
              </a:rPr>
              <a:t>the </a:t>
            </a:r>
            <a:r>
              <a:rPr lang="en-US" sz="4000" i="1" dirty="0">
                <a:solidFill>
                  <a:srgbClr val="002D55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ＭＳ Ｐゴシック" pitchFamily="34" charset="-128"/>
                <a:cs typeface="Arial" pitchFamily="34" charset="0"/>
              </a:rPr>
              <a:t>software testing profession</a:t>
            </a:r>
          </a:p>
        </p:txBody>
      </p:sp>
    </p:spTree>
    <p:extLst>
      <p:ext uri="{BB962C8B-B14F-4D97-AF65-F5344CB8AC3E}">
        <p14:creationId xmlns:p14="http://schemas.microsoft.com/office/powerpoint/2010/main" val="4980676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STQB</a:t>
            </a:r>
            <a:r>
              <a:rPr lang="it-IT" baseline="30000" dirty="0" smtClean="0"/>
              <a:t>®</a:t>
            </a:r>
            <a:r>
              <a:rPr lang="it-IT" dirty="0" smtClean="0"/>
              <a:t> FOUNDATION LEVEL </a:t>
            </a:r>
            <a:br>
              <a:rPr lang="it-IT" dirty="0" smtClean="0"/>
            </a:br>
            <a:r>
              <a:rPr lang="it-IT" i="1" dirty="0" smtClean="0"/>
              <a:t>AGILE TESTER</a:t>
            </a:r>
            <a:endParaRPr lang="it-IT" i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78337" y="1124745"/>
            <a:ext cx="4381187" cy="5658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33818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The fundamentals of agile software development</a:t>
            </a:r>
          </a:p>
          <a:p>
            <a:pPr lvl="1">
              <a:defRPr/>
            </a:pPr>
            <a:r>
              <a:rPr lang="en-US" sz="1800" dirty="0" smtClean="0"/>
              <a:t>Recall </a:t>
            </a:r>
            <a:r>
              <a:rPr lang="en-US" sz="1800" dirty="0"/>
              <a:t>the basic concept of agile based on the Agile </a:t>
            </a:r>
            <a:r>
              <a:rPr lang="en-US" sz="1800" dirty="0" smtClean="0"/>
              <a:t>Manifesto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Understand </a:t>
            </a:r>
            <a:r>
              <a:rPr lang="en-US" sz="1800" dirty="0"/>
              <a:t>the advantages of the whole-team approach </a:t>
            </a:r>
            <a:endParaRPr lang="en-US" sz="1800" dirty="0" smtClean="0"/>
          </a:p>
          <a:p>
            <a:pPr lvl="1">
              <a:spcAft>
                <a:spcPts val="600"/>
              </a:spcAft>
              <a:defRPr/>
            </a:pPr>
            <a:r>
              <a:rPr lang="en-US" sz="1800" dirty="0" smtClean="0"/>
              <a:t>Understand </a:t>
            </a:r>
            <a:r>
              <a:rPr lang="en-US" sz="1800" dirty="0"/>
              <a:t>the benefits of early and frequent </a:t>
            </a:r>
            <a:r>
              <a:rPr lang="en-US" sz="1800" dirty="0" smtClean="0"/>
              <a:t>feedback</a:t>
            </a:r>
          </a:p>
          <a:p>
            <a:pPr>
              <a:defRPr/>
            </a:pPr>
            <a:r>
              <a:rPr lang="en-US" sz="1800" dirty="0" smtClean="0"/>
              <a:t>Aspects of agile approaches</a:t>
            </a:r>
          </a:p>
          <a:p>
            <a:pPr lvl="1">
              <a:defRPr/>
            </a:pPr>
            <a:r>
              <a:rPr lang="en-US" sz="1800" dirty="0" smtClean="0"/>
              <a:t>Recall </a:t>
            </a:r>
            <a:r>
              <a:rPr lang="en-US" sz="1800" dirty="0"/>
              <a:t>agile software development approaches </a:t>
            </a:r>
          </a:p>
          <a:p>
            <a:pPr lvl="1">
              <a:defRPr/>
            </a:pPr>
            <a:r>
              <a:rPr lang="en-US" sz="1800" dirty="0" smtClean="0"/>
              <a:t>Write </a:t>
            </a:r>
            <a:r>
              <a:rPr lang="en-US" sz="1800" dirty="0"/>
              <a:t>user stories in collaboration with development, business representative and </a:t>
            </a:r>
            <a:r>
              <a:rPr lang="en-US" sz="1800" dirty="0" smtClean="0"/>
              <a:t>product owner 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Understand </a:t>
            </a:r>
            <a:r>
              <a:rPr lang="en-US" sz="1800" dirty="0"/>
              <a:t>how retrospectives can be used as a mechanism for process improvement in agile projects </a:t>
            </a:r>
          </a:p>
          <a:p>
            <a:pPr lvl="1">
              <a:defRPr/>
            </a:pPr>
            <a:r>
              <a:rPr lang="en-US" sz="1800" dirty="0" smtClean="0"/>
              <a:t>Understand </a:t>
            </a:r>
            <a:r>
              <a:rPr lang="en-US" sz="1800" dirty="0"/>
              <a:t>the use and purpose of continuous integration </a:t>
            </a:r>
          </a:p>
          <a:p>
            <a:pPr lvl="1">
              <a:defRPr/>
            </a:pPr>
            <a:r>
              <a:rPr lang="en-US" sz="1800" dirty="0" smtClean="0"/>
              <a:t>Know </a:t>
            </a:r>
            <a:r>
              <a:rPr lang="en-US" sz="1800" dirty="0"/>
              <a:t>the differences between iteration and release planning, and how a tester adds value to each of activity </a:t>
            </a:r>
          </a:p>
        </p:txBody>
      </p:sp>
      <p:sp>
        <p:nvSpPr>
          <p:cNvPr id="1946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LEARNING OBJECTIVES OF CHAPTER 1</a:t>
            </a:r>
          </a:p>
        </p:txBody>
      </p:sp>
    </p:spTree>
    <p:extLst>
      <p:ext uri="{BB962C8B-B14F-4D97-AF65-F5344CB8AC3E}">
        <p14:creationId xmlns:p14="http://schemas.microsoft.com/office/powerpoint/2010/main" val="17438887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sz="1800" dirty="0" smtClean="0"/>
              <a:t>Differences between testing in traditional and agile approaches</a:t>
            </a:r>
          </a:p>
          <a:p>
            <a:pPr lvl="1">
              <a:defRPr/>
            </a:pPr>
            <a:r>
              <a:rPr lang="en-US" sz="1800" dirty="0" smtClean="0"/>
              <a:t>Describe </a:t>
            </a:r>
            <a:r>
              <a:rPr lang="en-US" sz="1800" dirty="0"/>
              <a:t>the differences between testing activities in agile projects and non-agile projects </a:t>
            </a:r>
          </a:p>
          <a:p>
            <a:pPr lvl="1">
              <a:defRPr/>
            </a:pPr>
            <a:r>
              <a:rPr lang="en-US" sz="1800" dirty="0" smtClean="0"/>
              <a:t>Describe </a:t>
            </a:r>
            <a:r>
              <a:rPr lang="en-US" sz="1800" dirty="0"/>
              <a:t>how coding and testing activities are integrated in </a:t>
            </a:r>
            <a:r>
              <a:rPr lang="en-US" sz="1800" dirty="0" smtClean="0"/>
              <a:t>agile </a:t>
            </a:r>
            <a:endParaRPr lang="en-US" sz="1800" dirty="0"/>
          </a:p>
          <a:p>
            <a:pPr lvl="1">
              <a:spcAft>
                <a:spcPts val="600"/>
              </a:spcAft>
              <a:defRPr/>
            </a:pPr>
            <a:r>
              <a:rPr lang="en-US" sz="1800" dirty="0" smtClean="0"/>
              <a:t>Describe </a:t>
            </a:r>
            <a:r>
              <a:rPr lang="en-US" sz="1800" dirty="0"/>
              <a:t>the role of independent testing in agile </a:t>
            </a:r>
            <a:r>
              <a:rPr lang="en-US" sz="1800" dirty="0" smtClean="0"/>
              <a:t>projects</a:t>
            </a:r>
            <a:endParaRPr lang="en-US" sz="1800" dirty="0"/>
          </a:p>
          <a:p>
            <a:pPr>
              <a:defRPr/>
            </a:pPr>
            <a:r>
              <a:rPr lang="en-US" sz="1800" dirty="0" smtClean="0"/>
              <a:t>Status of testing in agile projects</a:t>
            </a:r>
          </a:p>
          <a:p>
            <a:pPr lvl="1">
              <a:defRPr/>
            </a:pPr>
            <a:r>
              <a:rPr lang="en-US" sz="1800" dirty="0" smtClean="0"/>
              <a:t>Describe </a:t>
            </a:r>
            <a:r>
              <a:rPr lang="en-US" sz="1800" dirty="0"/>
              <a:t>the basic set of work products used to communicate the status of testing in an agile project, including test progress and product quality </a:t>
            </a:r>
          </a:p>
          <a:p>
            <a:pPr lvl="1">
              <a:spcAft>
                <a:spcPts val="600"/>
              </a:spcAft>
              <a:defRPr/>
            </a:pPr>
            <a:r>
              <a:rPr lang="en-US" sz="1800" dirty="0" smtClean="0"/>
              <a:t>Describe </a:t>
            </a:r>
            <a:r>
              <a:rPr lang="en-US" sz="1800" dirty="0"/>
              <a:t>the process of evolving tests across multiple iterations and explain why test automation is important to manage regression risk in agile </a:t>
            </a:r>
            <a:r>
              <a:rPr lang="en-US" sz="1800" dirty="0" smtClean="0"/>
              <a:t>projects </a:t>
            </a:r>
            <a:endParaRPr lang="en-US" sz="1800" dirty="0"/>
          </a:p>
          <a:p>
            <a:pPr>
              <a:defRPr/>
            </a:pPr>
            <a:r>
              <a:rPr lang="en-US" sz="1800" dirty="0" smtClean="0"/>
              <a:t>Role and skills of a tester in an agile team</a:t>
            </a:r>
          </a:p>
          <a:p>
            <a:pPr lvl="1">
              <a:defRPr/>
            </a:pPr>
            <a:r>
              <a:rPr lang="en-US" sz="1800" dirty="0" smtClean="0"/>
              <a:t>Understand </a:t>
            </a:r>
            <a:r>
              <a:rPr lang="en-US" sz="1800" dirty="0"/>
              <a:t>the skills </a:t>
            </a:r>
            <a:r>
              <a:rPr lang="en-US" sz="1800" dirty="0" smtClean="0"/>
              <a:t>of </a:t>
            </a:r>
            <a:r>
              <a:rPr lang="en-US" sz="1800" dirty="0"/>
              <a:t>a tester in an agile </a:t>
            </a:r>
            <a:r>
              <a:rPr lang="en-US" sz="1800" dirty="0" smtClean="0"/>
              <a:t>team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Understand </a:t>
            </a:r>
            <a:r>
              <a:rPr lang="en-US" sz="1800" dirty="0"/>
              <a:t>the role of a tester within an agile </a:t>
            </a:r>
            <a:r>
              <a:rPr lang="en-US" sz="1800" dirty="0" smtClean="0"/>
              <a:t>team</a:t>
            </a:r>
            <a:endParaRPr lang="en-US" sz="1800" dirty="0"/>
          </a:p>
        </p:txBody>
      </p:sp>
      <p:sp>
        <p:nvSpPr>
          <p:cNvPr id="2355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LEARNING OBJECTIVES OF CHAPTER 2</a:t>
            </a:r>
          </a:p>
        </p:txBody>
      </p:sp>
    </p:spTree>
    <p:extLst>
      <p:ext uri="{BB962C8B-B14F-4D97-AF65-F5344CB8AC3E}">
        <p14:creationId xmlns:p14="http://schemas.microsoft.com/office/powerpoint/2010/main" val="208877685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Agile testing methods</a:t>
            </a:r>
          </a:p>
          <a:p>
            <a:pPr lvl="1">
              <a:defRPr/>
            </a:pPr>
            <a:r>
              <a:rPr lang="en-US" sz="1800" dirty="0" smtClean="0"/>
              <a:t>Recall the concepts of test driven development, acceptance test driven development and behavior driven development </a:t>
            </a:r>
          </a:p>
          <a:p>
            <a:pPr lvl="1">
              <a:defRPr/>
            </a:pPr>
            <a:r>
              <a:rPr lang="en-US" sz="1800" dirty="0" smtClean="0"/>
              <a:t>Recall the concepts of the test pyramid</a:t>
            </a:r>
          </a:p>
          <a:p>
            <a:pPr lvl="1">
              <a:defRPr/>
            </a:pPr>
            <a:r>
              <a:rPr lang="en-US" sz="1800" dirty="0" smtClean="0"/>
              <a:t>Summarize the testing quadrants and their relationships with testing levels and testing types</a:t>
            </a:r>
          </a:p>
          <a:p>
            <a:pPr lvl="1">
              <a:spcAft>
                <a:spcPts val="600"/>
              </a:spcAft>
              <a:defRPr/>
            </a:pPr>
            <a:r>
              <a:rPr lang="en-US" sz="1800" dirty="0" smtClean="0"/>
              <a:t>For </a:t>
            </a:r>
            <a:r>
              <a:rPr lang="en-US" sz="1800" dirty="0"/>
              <a:t>a given agile project, practice the role of a tester in Scrum </a:t>
            </a:r>
            <a:r>
              <a:rPr lang="en-US" sz="1800" dirty="0" smtClean="0"/>
              <a:t>team</a:t>
            </a:r>
            <a:endParaRPr lang="en-US" sz="1800" dirty="0"/>
          </a:p>
          <a:p>
            <a:pPr>
              <a:defRPr/>
            </a:pPr>
            <a:r>
              <a:rPr lang="en-US" sz="1800" dirty="0" smtClean="0"/>
              <a:t>Assessing quality risks and estimating test effort</a:t>
            </a:r>
          </a:p>
          <a:p>
            <a:pPr lvl="1">
              <a:defRPr/>
            </a:pPr>
            <a:r>
              <a:rPr lang="en-US" sz="1800" dirty="0" smtClean="0"/>
              <a:t>Assess </a:t>
            </a:r>
            <a:r>
              <a:rPr lang="en-US" sz="1800" dirty="0"/>
              <a:t>product quality risks within an </a:t>
            </a:r>
            <a:r>
              <a:rPr lang="en-US" sz="1800" dirty="0" smtClean="0"/>
              <a:t>agile project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Estimate </a:t>
            </a:r>
            <a:r>
              <a:rPr lang="en-US" sz="1800" dirty="0"/>
              <a:t>testing effort based on iteration content and product quality </a:t>
            </a:r>
            <a:r>
              <a:rPr lang="en-US" sz="1800" dirty="0" smtClean="0"/>
              <a:t>risks</a:t>
            </a:r>
            <a:endParaRPr lang="en-US" sz="1800" dirty="0"/>
          </a:p>
        </p:txBody>
      </p:sp>
      <p:sp>
        <p:nvSpPr>
          <p:cNvPr id="2765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LEARNING OBJECTIVES OF CHAPTER 3 (1)</a:t>
            </a:r>
          </a:p>
        </p:txBody>
      </p:sp>
    </p:spTree>
    <p:extLst>
      <p:ext uri="{BB962C8B-B14F-4D97-AF65-F5344CB8AC3E}">
        <p14:creationId xmlns:p14="http://schemas.microsoft.com/office/powerpoint/2010/main" val="335664973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1800" dirty="0" smtClean="0"/>
              <a:t>Techniques in agile projects</a:t>
            </a:r>
          </a:p>
          <a:p>
            <a:pPr lvl="1">
              <a:defRPr/>
            </a:pPr>
            <a:r>
              <a:rPr lang="en-US" sz="1800" dirty="0" smtClean="0"/>
              <a:t>Interpret </a:t>
            </a:r>
            <a:r>
              <a:rPr lang="en-US" sz="1800" dirty="0"/>
              <a:t>relevant information to support testing </a:t>
            </a:r>
            <a:r>
              <a:rPr lang="en-US" sz="1800" dirty="0" smtClean="0"/>
              <a:t>activities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Explain </a:t>
            </a:r>
            <a:r>
              <a:rPr lang="en-US" sz="1800" dirty="0"/>
              <a:t>to business stakeholders how to define testable acceptance </a:t>
            </a:r>
            <a:r>
              <a:rPr lang="en-US" sz="1800" dirty="0" smtClean="0"/>
              <a:t>criteria</a:t>
            </a:r>
            <a:endParaRPr lang="en-US" sz="1800" dirty="0"/>
          </a:p>
          <a:p>
            <a:pPr lvl="1">
              <a:defRPr/>
            </a:pPr>
            <a:r>
              <a:rPr lang="en-US" sz="1800" dirty="0" smtClean="0"/>
              <a:t>Given a user story, write acceptance test driven development test cases</a:t>
            </a:r>
          </a:p>
          <a:p>
            <a:pPr lvl="1">
              <a:defRPr/>
            </a:pPr>
            <a:r>
              <a:rPr lang="en-US" sz="1800" dirty="0" smtClean="0"/>
              <a:t>Write </a:t>
            </a:r>
            <a:r>
              <a:rPr lang="en-US" sz="1800" dirty="0"/>
              <a:t>test cases, for both functional and non-functional aspects, using black box test design techniques based on given user </a:t>
            </a:r>
            <a:r>
              <a:rPr lang="en-US" sz="1800" dirty="0" smtClean="0"/>
              <a:t>stories</a:t>
            </a:r>
            <a:endParaRPr lang="en-US" sz="1800" dirty="0"/>
          </a:p>
          <a:p>
            <a:pPr lvl="1">
              <a:spcAft>
                <a:spcPts val="600"/>
              </a:spcAft>
              <a:defRPr/>
            </a:pPr>
            <a:r>
              <a:rPr lang="en-US" sz="1800" dirty="0" smtClean="0"/>
              <a:t>Execute </a:t>
            </a:r>
            <a:r>
              <a:rPr lang="en-US" sz="1800" dirty="0"/>
              <a:t>exploratory testing to support the testing of an agile </a:t>
            </a:r>
            <a:r>
              <a:rPr lang="en-US" sz="1800" dirty="0" smtClean="0"/>
              <a:t>project</a:t>
            </a:r>
            <a:endParaRPr lang="en-US" sz="1800" dirty="0"/>
          </a:p>
          <a:p>
            <a:pPr>
              <a:defRPr/>
            </a:pPr>
            <a:r>
              <a:rPr lang="en-US" sz="1800" dirty="0" smtClean="0"/>
              <a:t>Tools in agile projects</a:t>
            </a:r>
          </a:p>
          <a:p>
            <a:pPr lvl="1">
              <a:defRPr/>
            </a:pPr>
            <a:r>
              <a:rPr lang="en-US" sz="1800" dirty="0" smtClean="0"/>
              <a:t>Recall </a:t>
            </a:r>
            <a:r>
              <a:rPr lang="en-US" sz="1800" dirty="0"/>
              <a:t>different tools available to testers according to their purpose and to the activities in agile </a:t>
            </a:r>
            <a:r>
              <a:rPr lang="en-US" sz="1800" dirty="0" smtClean="0"/>
              <a:t>projects</a:t>
            </a:r>
            <a:endParaRPr lang="en-US" sz="1800" dirty="0"/>
          </a:p>
        </p:txBody>
      </p:sp>
      <p:sp>
        <p:nvSpPr>
          <p:cNvPr id="2970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LEARNING OBJECTIVES OF CHAPTER 3 (2)</a:t>
            </a:r>
          </a:p>
        </p:txBody>
      </p:sp>
    </p:spTree>
    <p:extLst>
      <p:ext uri="{BB962C8B-B14F-4D97-AF65-F5344CB8AC3E}">
        <p14:creationId xmlns:p14="http://schemas.microsoft.com/office/powerpoint/2010/main" val="148821432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  <p:grpSp>
        <p:nvGrpSpPr>
          <p:cNvPr id="35" name="Gruppo 34"/>
          <p:cNvGrpSpPr/>
          <p:nvPr/>
        </p:nvGrpSpPr>
        <p:grpSpPr>
          <a:xfrm>
            <a:off x="1831034" y="1838976"/>
            <a:ext cx="1186584" cy="474633"/>
            <a:chOff x="1003450" y="2583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9" name="Gallone 68"/>
            <p:cNvSpPr/>
            <p:nvPr/>
          </p:nvSpPr>
          <p:spPr>
            <a:xfrm>
              <a:off x="1003450" y="2583"/>
              <a:ext cx="1186584" cy="474633"/>
            </a:xfrm>
            <a:prstGeom prst="chevron">
              <a:avLst/>
            </a:prstGeom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0" name="Gallone 4"/>
            <p:cNvSpPr/>
            <p:nvPr/>
          </p:nvSpPr>
          <p:spPr>
            <a:xfrm>
              <a:off x="1240767" y="2583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800" b="1" dirty="0">
                  <a:latin typeface="Arial" pitchFamily="34" charset="0"/>
                  <a:cs typeface="Arial" pitchFamily="34" charset="0"/>
                </a:rPr>
                <a:t>3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" name="Gruppo 35"/>
          <p:cNvGrpSpPr/>
          <p:nvPr/>
        </p:nvGrpSpPr>
        <p:grpSpPr>
          <a:xfrm>
            <a:off x="2863363" y="1879320"/>
            <a:ext cx="4447534" cy="393946"/>
            <a:chOff x="2035779" y="42927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7" name="Gallone 66"/>
            <p:cNvSpPr/>
            <p:nvPr/>
          </p:nvSpPr>
          <p:spPr>
            <a:xfrm>
              <a:off x="2035779" y="42927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rgbClr r="0" g="0" b="0"/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8" name="Gallone 6"/>
            <p:cNvSpPr/>
            <p:nvPr/>
          </p:nvSpPr>
          <p:spPr>
            <a:xfrm>
              <a:off x="2232752" y="42927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latin typeface="Arial" charset="0"/>
                  <a:ea typeface="ＭＳ Ｐゴシック" pitchFamily="34" charset="-128"/>
                </a:rPr>
                <a:t>Syllabi and </a:t>
              </a: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tension</a:t>
              </a:r>
              <a:r>
                <a:rPr lang="en-US" sz="2000" dirty="0">
                  <a:latin typeface="Arial" charset="0"/>
                  <a:ea typeface="ＭＳ Ｐゴシック" pitchFamily="34" charset="-128"/>
                </a:rPr>
                <a:t>s</a:t>
              </a:r>
              <a:endParaRPr lang="en-US" sz="2400" dirty="0"/>
            </a:p>
          </p:txBody>
        </p:sp>
      </p:grpSp>
      <p:grpSp>
        <p:nvGrpSpPr>
          <p:cNvPr id="37" name="Gruppo 36"/>
          <p:cNvGrpSpPr/>
          <p:nvPr/>
        </p:nvGrpSpPr>
        <p:grpSpPr>
          <a:xfrm>
            <a:off x="2211308" y="2348880"/>
            <a:ext cx="1186584" cy="474633"/>
            <a:chOff x="1003450" y="543666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5" name="Gallone 64"/>
            <p:cNvSpPr/>
            <p:nvPr/>
          </p:nvSpPr>
          <p:spPr>
            <a:xfrm>
              <a:off x="1003450" y="543666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Gallone 8"/>
            <p:cNvSpPr/>
            <p:nvPr/>
          </p:nvSpPr>
          <p:spPr>
            <a:xfrm>
              <a:off x="1240767" y="543666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kern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.1</a:t>
              </a:r>
              <a:endParaRPr lang="en-US" sz="20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8" name="Gruppo 37"/>
          <p:cNvGrpSpPr/>
          <p:nvPr/>
        </p:nvGrpSpPr>
        <p:grpSpPr>
          <a:xfrm>
            <a:off x="3243638" y="2389224"/>
            <a:ext cx="4062778" cy="393946"/>
            <a:chOff x="2035779" y="584010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3" name="Gallone 62"/>
            <p:cNvSpPr/>
            <p:nvPr/>
          </p:nvSpPr>
          <p:spPr>
            <a:xfrm>
              <a:off x="2035779" y="584010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4" name="Gallone 10"/>
            <p:cNvSpPr/>
            <p:nvPr/>
          </p:nvSpPr>
          <p:spPr>
            <a:xfrm>
              <a:off x="2232752" y="584010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kern="1200" dirty="0" smtClean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General Introduction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39" name="Gruppo 38"/>
          <p:cNvGrpSpPr/>
          <p:nvPr/>
        </p:nvGrpSpPr>
        <p:grpSpPr>
          <a:xfrm>
            <a:off x="2211308" y="2889962"/>
            <a:ext cx="1186584" cy="474633"/>
            <a:chOff x="1003450" y="1084748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1" name="Gallone 60"/>
            <p:cNvSpPr/>
            <p:nvPr/>
          </p:nvSpPr>
          <p:spPr>
            <a:xfrm>
              <a:off x="1003450" y="1084748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Gallone 12"/>
            <p:cNvSpPr/>
            <p:nvPr/>
          </p:nvSpPr>
          <p:spPr>
            <a:xfrm>
              <a:off x="1240767" y="1084748"/>
              <a:ext cx="711951" cy="474633"/>
            </a:xfrm>
            <a:prstGeom prst="rect">
              <a:avLst/>
            </a:prstGeom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dirty="0" smtClean="0">
                  <a:latin typeface="Arial" pitchFamily="34" charset="0"/>
                  <a:cs typeface="Arial" pitchFamily="34" charset="0"/>
                </a:rPr>
                <a:t>3.2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uppo 39"/>
          <p:cNvGrpSpPr/>
          <p:nvPr/>
        </p:nvGrpSpPr>
        <p:grpSpPr>
          <a:xfrm>
            <a:off x="3243638" y="2930306"/>
            <a:ext cx="4063156" cy="393946"/>
            <a:chOff x="2035779" y="1125092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9" name="Gallone 58"/>
            <p:cNvSpPr/>
            <p:nvPr/>
          </p:nvSpPr>
          <p:spPr>
            <a:xfrm>
              <a:off x="2035779" y="1125092"/>
              <a:ext cx="4447948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Gallone 14"/>
            <p:cNvSpPr/>
            <p:nvPr/>
          </p:nvSpPr>
          <p:spPr>
            <a:xfrm>
              <a:off x="2232752" y="1125092"/>
              <a:ext cx="4054002" cy="393946"/>
            </a:xfrm>
            <a:prstGeom prst="rect">
              <a:avLst/>
            </a:prstGeom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Foundation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57" name="Gallone 56"/>
          <p:cNvSpPr/>
          <p:nvPr/>
        </p:nvSpPr>
        <p:spPr>
          <a:xfrm>
            <a:off x="2211308" y="3431045"/>
            <a:ext cx="1186584" cy="474633"/>
          </a:xfrm>
          <a:prstGeom prst="chevron">
            <a:avLst/>
          </a:prstGeom>
          <a:solidFill>
            <a:schemeClr val="bg1">
              <a:lumMod val="65000"/>
            </a:schemeClr>
          </a:solidFill>
          <a:ln w="76200">
            <a:noFill/>
          </a:ln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it-IT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3</a:t>
            </a:r>
          </a:p>
        </p:txBody>
      </p:sp>
      <p:grpSp>
        <p:nvGrpSpPr>
          <p:cNvPr id="42" name="Gruppo 41"/>
          <p:cNvGrpSpPr/>
          <p:nvPr/>
        </p:nvGrpSpPr>
        <p:grpSpPr>
          <a:xfrm>
            <a:off x="3243637" y="3471389"/>
            <a:ext cx="4062058" cy="393946"/>
            <a:chOff x="2035779" y="1666175"/>
            <a:chExt cx="4446746" cy="393946"/>
          </a:xfrm>
          <a:scene3d>
            <a:camera prst="orthographicFront"/>
            <a:lightRig rig="chilly" dir="t"/>
          </a:scene3d>
        </p:grpSpPr>
        <p:sp>
          <p:nvSpPr>
            <p:cNvPr id="55" name="Gallone 54"/>
            <p:cNvSpPr/>
            <p:nvPr/>
          </p:nvSpPr>
          <p:spPr>
            <a:xfrm>
              <a:off x="2035779" y="1666175"/>
              <a:ext cx="4446746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Gallone 18"/>
            <p:cNvSpPr/>
            <p:nvPr/>
          </p:nvSpPr>
          <p:spPr>
            <a:xfrm>
              <a:off x="2232752" y="1666175"/>
              <a:ext cx="4052800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gile Tester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3" name="Gruppo 42"/>
          <p:cNvGrpSpPr/>
          <p:nvPr/>
        </p:nvGrpSpPr>
        <p:grpSpPr>
          <a:xfrm>
            <a:off x="2211308" y="3972128"/>
            <a:ext cx="1186584" cy="474633"/>
            <a:chOff x="1003450" y="2166914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53" name="Gallone 52"/>
            <p:cNvSpPr/>
            <p:nvPr/>
          </p:nvSpPr>
          <p:spPr>
            <a:xfrm>
              <a:off x="1003450" y="2166914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solidFill>
                <a:schemeClr val="bg1">
                  <a:lumMod val="50000"/>
                </a:schemeClr>
              </a:solidFill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Gallone 20"/>
            <p:cNvSpPr/>
            <p:nvPr/>
          </p:nvSpPr>
          <p:spPr>
            <a:xfrm>
              <a:off x="1240767" y="2166914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pitchFamily="34" charset="0"/>
                  <a:cs typeface="Arial" pitchFamily="34" charset="0"/>
                </a:rPr>
                <a:t>3.4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uppo 43"/>
          <p:cNvGrpSpPr/>
          <p:nvPr/>
        </p:nvGrpSpPr>
        <p:grpSpPr>
          <a:xfrm>
            <a:off x="3243638" y="4012472"/>
            <a:ext cx="4063156" cy="393946"/>
            <a:chOff x="2035779" y="2207258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1" name="Gallone 50"/>
            <p:cNvSpPr/>
            <p:nvPr/>
          </p:nvSpPr>
          <p:spPr>
            <a:xfrm>
              <a:off x="2035779" y="2207258"/>
              <a:ext cx="4447948" cy="393946"/>
            </a:xfrm>
            <a:prstGeom prst="chevron">
              <a:avLst/>
            </a:prstGeom>
            <a:ln w="57150">
              <a:solidFill>
                <a:schemeClr val="bg1">
                  <a:lumMod val="50000"/>
                  <a:alpha val="90000"/>
                </a:schemeClr>
              </a:solidFill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Gallone 22"/>
            <p:cNvSpPr/>
            <p:nvPr/>
          </p:nvSpPr>
          <p:spPr>
            <a:xfrm>
              <a:off x="2232752" y="2207258"/>
              <a:ext cx="4054002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dvanced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5" name="Gruppo 44"/>
          <p:cNvGrpSpPr/>
          <p:nvPr/>
        </p:nvGrpSpPr>
        <p:grpSpPr>
          <a:xfrm>
            <a:off x="2211308" y="4513211"/>
            <a:ext cx="1186584" cy="474633"/>
            <a:chOff x="1003450" y="2707997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49" name="Gallone 48"/>
            <p:cNvSpPr/>
            <p:nvPr/>
          </p:nvSpPr>
          <p:spPr>
            <a:xfrm>
              <a:off x="1003450" y="2707997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Gallone 24"/>
            <p:cNvSpPr/>
            <p:nvPr/>
          </p:nvSpPr>
          <p:spPr>
            <a:xfrm>
              <a:off x="1240767" y="2707997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charset="0"/>
                  <a:ea typeface="ＭＳ Ｐゴシック" pitchFamily="34" charset="-128"/>
                </a:rPr>
                <a:t>3.5</a:t>
              </a:r>
              <a:endParaRPr lang="en-US" sz="2000" b="1" kern="1200" dirty="0"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6" name="Gruppo 45"/>
          <p:cNvGrpSpPr/>
          <p:nvPr/>
        </p:nvGrpSpPr>
        <p:grpSpPr>
          <a:xfrm>
            <a:off x="3243637" y="4553555"/>
            <a:ext cx="4064667" cy="393946"/>
            <a:chOff x="2035779" y="2748341"/>
            <a:chExt cx="4449602" cy="393946"/>
          </a:xfrm>
          <a:scene3d>
            <a:camera prst="orthographicFront"/>
            <a:lightRig rig="chilly" dir="t"/>
          </a:scene3d>
        </p:grpSpPr>
        <p:sp>
          <p:nvSpPr>
            <p:cNvPr id="47" name="Gallone 46"/>
            <p:cNvSpPr/>
            <p:nvPr/>
          </p:nvSpPr>
          <p:spPr>
            <a:xfrm>
              <a:off x="2035779" y="2748341"/>
              <a:ext cx="4449602" cy="393946"/>
            </a:xfrm>
            <a:prstGeom prst="chevron">
              <a:avLst/>
            </a:prstGeom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Gallone 26"/>
            <p:cNvSpPr/>
            <p:nvPr/>
          </p:nvSpPr>
          <p:spPr>
            <a:xfrm>
              <a:off x="2232752" y="2748341"/>
              <a:ext cx="4055656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pert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1589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STQB</a:t>
            </a:r>
            <a:r>
              <a:rPr lang="it-IT" baseline="30000" dirty="0" smtClean="0"/>
              <a:t>®</a:t>
            </a:r>
            <a:r>
              <a:rPr lang="it-IT" dirty="0" smtClean="0"/>
              <a:t> ADVANCED LEVEL</a:t>
            </a:r>
            <a:endParaRPr lang="it-IT" dirty="0"/>
          </a:p>
        </p:txBody>
      </p:sp>
      <p:sp>
        <p:nvSpPr>
          <p:cNvPr id="4" name="Segnaposto contenuto 1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800" dirty="0" smtClean="0"/>
              <a:t>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Advanced Level is composed of three independent modules: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Test Manager (AL-TM</a:t>
            </a:r>
            <a:r>
              <a:rPr lang="en-US" sz="1800" dirty="0" smtClean="0"/>
              <a:t>)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Test Analyst (AL-TA)</a:t>
            </a:r>
          </a:p>
          <a:p>
            <a:pPr lvl="1">
              <a:spcBef>
                <a:spcPts val="600"/>
              </a:spcBef>
            </a:pPr>
            <a:r>
              <a:rPr lang="en-US" sz="1800" dirty="0" smtClean="0"/>
              <a:t>Technical Test Analyst (AL-TTA)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sz="1800" dirty="0"/>
          </a:p>
          <a:p>
            <a:pPr>
              <a:spcBef>
                <a:spcPts val="600"/>
              </a:spcBef>
            </a:pPr>
            <a:r>
              <a:rPr lang="en-US" sz="1800" dirty="0" smtClean="0"/>
              <a:t>The 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Foundation Level Certification is </a:t>
            </a:r>
            <a:r>
              <a:rPr lang="en-US" sz="1800" dirty="0"/>
              <a:t>a pre-requisite fo</a:t>
            </a:r>
            <a:r>
              <a:rPr lang="en-US" sz="1800" dirty="0" smtClean="0"/>
              <a:t>r all of them</a:t>
            </a:r>
          </a:p>
          <a:p>
            <a:pPr>
              <a:spcBef>
                <a:spcPts val="600"/>
              </a:spcBef>
            </a:pPr>
            <a:endParaRPr lang="en-US" sz="1800" dirty="0"/>
          </a:p>
          <a:p>
            <a:pPr>
              <a:spcBef>
                <a:spcPts val="600"/>
              </a:spcBef>
            </a:pPr>
            <a:r>
              <a:rPr lang="en-US" sz="1800" dirty="0" smtClean="0"/>
              <a:t>When achieving all the three Advanced Modules, a “Full Advanced” certificate is issued</a:t>
            </a:r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/>
          </a:p>
        </p:txBody>
      </p:sp>
    </p:spTree>
    <p:extLst>
      <p:ext uri="{BB962C8B-B14F-4D97-AF65-F5344CB8AC3E}">
        <p14:creationId xmlns:p14="http://schemas.microsoft.com/office/powerpoint/2010/main" val="41275693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ADVANCED LEVEL</a:t>
            </a:r>
            <a:br>
              <a:rPr lang="de-DE" dirty="0" smtClean="0"/>
            </a:br>
            <a:r>
              <a:rPr lang="de-DE" i="1" dirty="0" smtClean="0"/>
              <a:t>TEST MANAGER (AL-TM)</a:t>
            </a:r>
            <a:endParaRPr lang="it-IT" i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48" y="1293708"/>
            <a:ext cx="8136904" cy="5087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848895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ADVANCED LEVEL</a:t>
            </a:r>
            <a:br>
              <a:rPr lang="de-DE" dirty="0" smtClean="0"/>
            </a:br>
            <a:r>
              <a:rPr lang="de-DE" i="1" dirty="0" smtClean="0"/>
              <a:t>TEST ANALYST (AL-TA)</a:t>
            </a:r>
            <a:endParaRPr lang="it-IT" i="1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812" y="1346056"/>
            <a:ext cx="7956376" cy="5035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697947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ADVANCED LEVEL</a:t>
            </a:r>
            <a:br>
              <a:rPr lang="de-DE" dirty="0" smtClean="0"/>
            </a:br>
            <a:r>
              <a:rPr lang="de-DE" i="1" dirty="0" smtClean="0"/>
              <a:t>TECHNICAL</a:t>
            </a:r>
            <a:r>
              <a:rPr lang="de-DE" dirty="0" smtClean="0"/>
              <a:t> </a:t>
            </a:r>
            <a:r>
              <a:rPr lang="de-DE" i="1" dirty="0" smtClean="0"/>
              <a:t>TEST ANALYST (AL – TTA)</a:t>
            </a:r>
            <a:endParaRPr lang="it-IT" i="1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824" y="1359738"/>
            <a:ext cx="6962353" cy="5093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275273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STQB</a:t>
            </a:r>
            <a:r>
              <a:rPr lang="it-IT" baseline="30000" dirty="0" smtClean="0"/>
              <a:t>® </a:t>
            </a:r>
            <a:r>
              <a:rPr lang="it-IT" dirty="0" smtClean="0"/>
              <a:t>ADVANCED LEVEL SMARTSHOW</a:t>
            </a:r>
            <a:endParaRPr lang="it-IT" dirty="0"/>
          </a:p>
        </p:txBody>
      </p:sp>
      <p:sp>
        <p:nvSpPr>
          <p:cNvPr id="4" name="Segnaposto contenuto 1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52596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800" dirty="0" smtClean="0"/>
              <a:t>ISTQB</a:t>
            </a:r>
            <a:r>
              <a:rPr lang="en-US" sz="1800" baseline="30000" dirty="0"/>
              <a:t>®</a:t>
            </a:r>
            <a:r>
              <a:rPr lang="en-US" sz="1800" dirty="0"/>
              <a:t> </a:t>
            </a:r>
            <a:r>
              <a:rPr lang="en-US" sz="1800" dirty="0" smtClean="0"/>
              <a:t>Smartshow introduces the 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</a:t>
            </a:r>
            <a:r>
              <a:rPr lang="en-US" sz="1800" dirty="0" smtClean="0"/>
              <a:t>Certification in less than 3 minutes</a:t>
            </a:r>
            <a:endParaRPr lang="en-US" sz="1800" dirty="0" smtClean="0"/>
          </a:p>
          <a:p>
            <a:pPr>
              <a:spcBef>
                <a:spcPts val="600"/>
              </a:spcBef>
            </a:pPr>
            <a:endParaRPr lang="en-US" sz="1800" dirty="0"/>
          </a:p>
          <a:p>
            <a:pPr>
              <a:spcBef>
                <a:spcPts val="600"/>
              </a:spcBef>
            </a:pPr>
            <a:endParaRPr lang="en-AU" sz="1800" dirty="0" smtClean="0"/>
          </a:p>
          <a:p>
            <a:pPr marL="0" indent="0">
              <a:spcBef>
                <a:spcPts val="600"/>
              </a:spcBef>
              <a:buNone/>
            </a:pPr>
            <a:endParaRPr lang="en-AU" sz="1800" dirty="0"/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/>
          </a:p>
          <a:p>
            <a:pPr marL="0" indent="0">
              <a:spcBef>
                <a:spcPts val="600"/>
              </a:spcBef>
              <a:buNone/>
            </a:pPr>
            <a:endParaRPr lang="en-AU" sz="1800" dirty="0"/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>
              <a:hlinkClick r:id="rId2"/>
            </a:endParaRPr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>
              <a:hlinkClick r:id="rId2"/>
            </a:endParaRPr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>
              <a:hlinkClick r:id="rId2"/>
            </a:endParaRPr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>
              <a:hlinkClick r:id="rId2"/>
            </a:endParaRPr>
          </a:p>
          <a:p>
            <a:pPr marL="0" indent="0">
              <a:spcBef>
                <a:spcPts val="600"/>
              </a:spcBef>
              <a:buNone/>
            </a:pPr>
            <a:endParaRPr lang="en-AU" sz="1800" dirty="0">
              <a:hlinkClick r:id="rId2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AU" sz="1600" dirty="0" smtClean="0"/>
              <a:t>				       </a:t>
            </a:r>
            <a:r>
              <a:rPr lang="en-AU" sz="1600" dirty="0" smtClean="0">
                <a:hlinkClick r:id="rId2"/>
              </a:rPr>
              <a:t>http</a:t>
            </a:r>
            <a:r>
              <a:rPr lang="en-AU" sz="1600" dirty="0">
                <a:hlinkClick r:id="rId2"/>
              </a:rPr>
              <a:t>://</a:t>
            </a:r>
            <a:r>
              <a:rPr lang="en-AU" sz="1600" dirty="0" smtClean="0">
                <a:hlinkClick r:id="rId2"/>
              </a:rPr>
              <a:t>www.youtube.com/watch?v=HrK1zhqyW4k</a:t>
            </a:r>
            <a:endParaRPr lang="en-AU" sz="1600" dirty="0" smtClean="0"/>
          </a:p>
        </p:txBody>
      </p:sp>
      <p:pic>
        <p:nvPicPr>
          <p:cNvPr id="1027" name="Picture 3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350" y="2276872"/>
            <a:ext cx="4243494" cy="223244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  <p:pic>
        <p:nvPicPr>
          <p:cNvPr id="8" name="Picture 15">
            <a:hlinkClick r:id="rId2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868" y="5423380"/>
            <a:ext cx="297459" cy="29745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47661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  <p:grpSp>
        <p:nvGrpSpPr>
          <p:cNvPr id="35" name="Gruppo 34"/>
          <p:cNvGrpSpPr/>
          <p:nvPr/>
        </p:nvGrpSpPr>
        <p:grpSpPr>
          <a:xfrm>
            <a:off x="1831034" y="1838976"/>
            <a:ext cx="1186584" cy="474633"/>
            <a:chOff x="1003450" y="2583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9" name="Gallone 68"/>
            <p:cNvSpPr/>
            <p:nvPr/>
          </p:nvSpPr>
          <p:spPr>
            <a:xfrm>
              <a:off x="1003450" y="2583"/>
              <a:ext cx="1186584" cy="474633"/>
            </a:xfrm>
            <a:prstGeom prst="chevron">
              <a:avLst/>
            </a:prstGeom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rgbClr r="0" g="0" b="0"/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0" name="Gallone 4"/>
            <p:cNvSpPr/>
            <p:nvPr/>
          </p:nvSpPr>
          <p:spPr>
            <a:xfrm>
              <a:off x="1240767" y="2583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800" b="1" dirty="0">
                  <a:latin typeface="Arial" pitchFamily="34" charset="0"/>
                  <a:cs typeface="Arial" pitchFamily="34" charset="0"/>
                </a:rPr>
                <a:t>3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6" name="Gruppo 35"/>
          <p:cNvGrpSpPr/>
          <p:nvPr/>
        </p:nvGrpSpPr>
        <p:grpSpPr>
          <a:xfrm>
            <a:off x="2863363" y="1879320"/>
            <a:ext cx="4447534" cy="393946"/>
            <a:chOff x="2035779" y="42927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7" name="Gallone 66"/>
            <p:cNvSpPr/>
            <p:nvPr/>
          </p:nvSpPr>
          <p:spPr>
            <a:xfrm>
              <a:off x="2035779" y="42927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rgbClr r="0" g="0" b="0"/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8" name="Gallone 6"/>
            <p:cNvSpPr/>
            <p:nvPr/>
          </p:nvSpPr>
          <p:spPr>
            <a:xfrm>
              <a:off x="2232752" y="42927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latin typeface="Arial" charset="0"/>
                  <a:ea typeface="ＭＳ Ｐゴシック" pitchFamily="34" charset="-128"/>
                </a:rPr>
                <a:t>Syllabi and </a:t>
              </a: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tension</a:t>
              </a:r>
              <a:r>
                <a:rPr lang="en-US" sz="2000" dirty="0">
                  <a:latin typeface="Arial" charset="0"/>
                  <a:ea typeface="ＭＳ Ｐゴシック" pitchFamily="34" charset="-128"/>
                </a:rPr>
                <a:t>s</a:t>
              </a:r>
              <a:endParaRPr lang="en-US" sz="2400" dirty="0"/>
            </a:p>
          </p:txBody>
        </p:sp>
      </p:grpSp>
      <p:grpSp>
        <p:nvGrpSpPr>
          <p:cNvPr id="37" name="Gruppo 36"/>
          <p:cNvGrpSpPr/>
          <p:nvPr/>
        </p:nvGrpSpPr>
        <p:grpSpPr>
          <a:xfrm>
            <a:off x="2211308" y="2348880"/>
            <a:ext cx="1186584" cy="474633"/>
            <a:chOff x="1003450" y="543666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5" name="Gallone 64"/>
            <p:cNvSpPr/>
            <p:nvPr/>
          </p:nvSpPr>
          <p:spPr>
            <a:xfrm>
              <a:off x="1003450" y="543666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Gallone 8"/>
            <p:cNvSpPr/>
            <p:nvPr/>
          </p:nvSpPr>
          <p:spPr>
            <a:xfrm>
              <a:off x="1240767" y="543666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kern="12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3.1</a:t>
              </a:r>
              <a:endParaRPr lang="en-US" sz="20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8" name="Gruppo 37"/>
          <p:cNvGrpSpPr/>
          <p:nvPr/>
        </p:nvGrpSpPr>
        <p:grpSpPr>
          <a:xfrm>
            <a:off x="3243638" y="2389224"/>
            <a:ext cx="4062778" cy="393946"/>
            <a:chOff x="2035779" y="584010"/>
            <a:chExt cx="4447534" cy="393946"/>
          </a:xfrm>
          <a:scene3d>
            <a:camera prst="orthographicFront"/>
            <a:lightRig rig="chilly" dir="t"/>
          </a:scene3d>
        </p:grpSpPr>
        <p:sp>
          <p:nvSpPr>
            <p:cNvPr id="63" name="Gallone 62"/>
            <p:cNvSpPr/>
            <p:nvPr/>
          </p:nvSpPr>
          <p:spPr>
            <a:xfrm>
              <a:off x="2035779" y="584010"/>
              <a:ext cx="4447534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4" name="Gallone 10"/>
            <p:cNvSpPr/>
            <p:nvPr/>
          </p:nvSpPr>
          <p:spPr>
            <a:xfrm>
              <a:off x="2232752" y="584010"/>
              <a:ext cx="4053588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kern="1200" dirty="0" smtClean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General Introduction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39" name="Gruppo 38"/>
          <p:cNvGrpSpPr/>
          <p:nvPr/>
        </p:nvGrpSpPr>
        <p:grpSpPr>
          <a:xfrm>
            <a:off x="2211308" y="2889962"/>
            <a:ext cx="1186584" cy="474633"/>
            <a:chOff x="1003450" y="1084748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61" name="Gallone 60"/>
            <p:cNvSpPr/>
            <p:nvPr/>
          </p:nvSpPr>
          <p:spPr>
            <a:xfrm>
              <a:off x="1003450" y="1084748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Gallone 12"/>
            <p:cNvSpPr/>
            <p:nvPr/>
          </p:nvSpPr>
          <p:spPr>
            <a:xfrm>
              <a:off x="1240767" y="1084748"/>
              <a:ext cx="711951" cy="474633"/>
            </a:xfrm>
            <a:prstGeom prst="rect">
              <a:avLst/>
            </a:prstGeom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5560" tIns="17780" rIns="0" bIns="1778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b="1" dirty="0" smtClean="0">
                  <a:latin typeface="Arial" pitchFamily="34" charset="0"/>
                  <a:cs typeface="Arial" pitchFamily="34" charset="0"/>
                </a:rPr>
                <a:t>3.2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0" name="Gruppo 39"/>
          <p:cNvGrpSpPr/>
          <p:nvPr/>
        </p:nvGrpSpPr>
        <p:grpSpPr>
          <a:xfrm>
            <a:off x="3243638" y="2930306"/>
            <a:ext cx="4063156" cy="393946"/>
            <a:chOff x="2035779" y="1125092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9" name="Gallone 58"/>
            <p:cNvSpPr/>
            <p:nvPr/>
          </p:nvSpPr>
          <p:spPr>
            <a:xfrm>
              <a:off x="2035779" y="1125092"/>
              <a:ext cx="4447948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Gallone 14"/>
            <p:cNvSpPr/>
            <p:nvPr/>
          </p:nvSpPr>
          <p:spPr>
            <a:xfrm>
              <a:off x="2232752" y="1125092"/>
              <a:ext cx="4054002" cy="393946"/>
            </a:xfrm>
            <a:prstGeom prst="rect">
              <a:avLst/>
            </a:prstGeom>
            <a:ln>
              <a:noFill/>
            </a:ln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Foundation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57" name="Gallone 56"/>
          <p:cNvSpPr/>
          <p:nvPr/>
        </p:nvSpPr>
        <p:spPr>
          <a:xfrm>
            <a:off x="2211308" y="3431045"/>
            <a:ext cx="1186584" cy="474633"/>
          </a:xfrm>
          <a:prstGeom prst="chevron">
            <a:avLst/>
          </a:prstGeom>
          <a:solidFill>
            <a:schemeClr val="bg1">
              <a:lumMod val="65000"/>
            </a:schemeClr>
          </a:solidFill>
          <a:ln w="76200">
            <a:noFill/>
          </a:ln>
          <a:scene3d>
            <a:camera prst="orthographicFront"/>
            <a:lightRig rig="chilly" dir="t"/>
          </a:scene3d>
          <a:sp3d prstMaterial="translucentPowder">
            <a:bevelT w="127000" h="25400" prst="softRound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it-IT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3</a:t>
            </a:r>
          </a:p>
        </p:txBody>
      </p:sp>
      <p:grpSp>
        <p:nvGrpSpPr>
          <p:cNvPr id="42" name="Gruppo 41"/>
          <p:cNvGrpSpPr/>
          <p:nvPr/>
        </p:nvGrpSpPr>
        <p:grpSpPr>
          <a:xfrm>
            <a:off x="3243637" y="3471389"/>
            <a:ext cx="4062058" cy="393946"/>
            <a:chOff x="2035779" y="1666175"/>
            <a:chExt cx="4446746" cy="393946"/>
          </a:xfrm>
          <a:scene3d>
            <a:camera prst="orthographicFront"/>
            <a:lightRig rig="chilly" dir="t"/>
          </a:scene3d>
        </p:grpSpPr>
        <p:sp>
          <p:nvSpPr>
            <p:cNvPr id="55" name="Gallone 54"/>
            <p:cNvSpPr/>
            <p:nvPr/>
          </p:nvSpPr>
          <p:spPr>
            <a:xfrm>
              <a:off x="2035779" y="1666175"/>
              <a:ext cx="4446746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Gallone 18"/>
            <p:cNvSpPr/>
            <p:nvPr/>
          </p:nvSpPr>
          <p:spPr>
            <a:xfrm>
              <a:off x="2232752" y="1666175"/>
              <a:ext cx="4052800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gile Tester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3" name="Gruppo 42"/>
          <p:cNvGrpSpPr/>
          <p:nvPr/>
        </p:nvGrpSpPr>
        <p:grpSpPr>
          <a:xfrm>
            <a:off x="2211308" y="3972128"/>
            <a:ext cx="1186584" cy="474633"/>
            <a:chOff x="1003450" y="2166914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53" name="Gallone 52"/>
            <p:cNvSpPr/>
            <p:nvPr/>
          </p:nvSpPr>
          <p:spPr>
            <a:xfrm>
              <a:off x="1003450" y="2166914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noFill/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Gallone 20"/>
            <p:cNvSpPr/>
            <p:nvPr/>
          </p:nvSpPr>
          <p:spPr>
            <a:xfrm>
              <a:off x="1240767" y="2166914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pitchFamily="34" charset="0"/>
                  <a:cs typeface="Arial" pitchFamily="34" charset="0"/>
                </a:rPr>
                <a:t>3.4</a:t>
              </a:r>
              <a:endParaRPr lang="en-US" sz="20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4" name="Gruppo 43"/>
          <p:cNvGrpSpPr/>
          <p:nvPr/>
        </p:nvGrpSpPr>
        <p:grpSpPr>
          <a:xfrm>
            <a:off x="3243638" y="4012472"/>
            <a:ext cx="4063156" cy="393946"/>
            <a:chOff x="2035779" y="2207258"/>
            <a:chExt cx="4447948" cy="393946"/>
          </a:xfrm>
          <a:scene3d>
            <a:camera prst="orthographicFront"/>
            <a:lightRig rig="chilly" dir="t"/>
          </a:scene3d>
        </p:grpSpPr>
        <p:sp>
          <p:nvSpPr>
            <p:cNvPr id="51" name="Gallone 50"/>
            <p:cNvSpPr/>
            <p:nvPr/>
          </p:nvSpPr>
          <p:spPr>
            <a:xfrm>
              <a:off x="2035779" y="2207258"/>
              <a:ext cx="4447948" cy="393946"/>
            </a:xfrm>
            <a:prstGeom prst="chevron">
              <a:avLst/>
            </a:prstGeom>
            <a:ln w="57150">
              <a:noFill/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2" name="Gallone 22"/>
            <p:cNvSpPr/>
            <p:nvPr/>
          </p:nvSpPr>
          <p:spPr>
            <a:xfrm>
              <a:off x="2232752" y="2207258"/>
              <a:ext cx="4054002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Advanced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45" name="Gruppo 44"/>
          <p:cNvGrpSpPr/>
          <p:nvPr/>
        </p:nvGrpSpPr>
        <p:grpSpPr>
          <a:xfrm>
            <a:off x="2211308" y="4513211"/>
            <a:ext cx="1186584" cy="474633"/>
            <a:chOff x="1003450" y="2707997"/>
            <a:chExt cx="1186584" cy="474633"/>
          </a:xfrm>
          <a:scene3d>
            <a:camera prst="orthographicFront"/>
            <a:lightRig rig="chilly" dir="t"/>
          </a:scene3d>
        </p:grpSpPr>
        <p:sp>
          <p:nvSpPr>
            <p:cNvPr id="49" name="Gallone 48"/>
            <p:cNvSpPr/>
            <p:nvPr/>
          </p:nvSpPr>
          <p:spPr>
            <a:xfrm>
              <a:off x="1003450" y="2707997"/>
              <a:ext cx="1186584" cy="474633"/>
            </a:xfrm>
            <a:prstGeom prst="chevron">
              <a:avLst/>
            </a:prstGeom>
            <a:solidFill>
              <a:schemeClr val="bg1">
                <a:lumMod val="65000"/>
              </a:schemeClr>
            </a:solidFill>
            <a:ln w="76200">
              <a:solidFill>
                <a:schemeClr val="bg1">
                  <a:lumMod val="50000"/>
                </a:schemeClr>
              </a:solidFill>
            </a:ln>
            <a:sp3d prstMaterial="translucentPowder">
              <a:bevelT w="127000" h="25400" prst="softRound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Gallone 24"/>
            <p:cNvSpPr/>
            <p:nvPr/>
          </p:nvSpPr>
          <p:spPr>
            <a:xfrm>
              <a:off x="1240767" y="2707997"/>
              <a:ext cx="711951" cy="47463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640" tIns="20320" rIns="0" bIns="2032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latin typeface="Arial" charset="0"/>
                  <a:ea typeface="ＭＳ Ｐゴシック" pitchFamily="34" charset="-128"/>
                </a:rPr>
                <a:t>3.5</a:t>
              </a:r>
              <a:endParaRPr lang="en-US" sz="2000" b="1" kern="1200" dirty="0"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46" name="Gruppo 45"/>
          <p:cNvGrpSpPr/>
          <p:nvPr/>
        </p:nvGrpSpPr>
        <p:grpSpPr>
          <a:xfrm>
            <a:off x="3243637" y="4553555"/>
            <a:ext cx="4064667" cy="393946"/>
            <a:chOff x="2035779" y="2748341"/>
            <a:chExt cx="4449602" cy="393946"/>
          </a:xfrm>
          <a:scene3d>
            <a:camera prst="orthographicFront"/>
            <a:lightRig rig="chilly" dir="t"/>
          </a:scene3d>
        </p:grpSpPr>
        <p:sp>
          <p:nvSpPr>
            <p:cNvPr id="47" name="Gallone 46"/>
            <p:cNvSpPr/>
            <p:nvPr/>
          </p:nvSpPr>
          <p:spPr>
            <a:xfrm>
              <a:off x="2035779" y="2748341"/>
              <a:ext cx="4449602" cy="393946"/>
            </a:xfrm>
            <a:prstGeom prst="chevron">
              <a:avLst/>
            </a:prstGeom>
            <a:ln w="57150">
              <a:solidFill>
                <a:schemeClr val="bg1">
                  <a:lumMod val="50000"/>
                  <a:alpha val="90000"/>
                </a:schemeClr>
              </a:solidFill>
            </a:ln>
            <a:sp3d extrusionH="1700" prstMaterial="dkEdge">
              <a:bevelT w="25400" h="6350" prst="softRound"/>
              <a:bevelB w="0" h="0" prst="convex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Gallone 26"/>
            <p:cNvSpPr/>
            <p:nvPr/>
          </p:nvSpPr>
          <p:spPr>
            <a:xfrm>
              <a:off x="2232752" y="2748341"/>
              <a:ext cx="4055656" cy="393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400" tIns="12700" rIns="0" bIns="127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US" sz="2000" dirty="0"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Expert Level</a:t>
              </a:r>
              <a:endParaRPr lang="en-US" sz="2000" kern="1200" dirty="0"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8362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STQB</a:t>
            </a:r>
            <a:r>
              <a:rPr lang="it-IT" baseline="30000" dirty="0" smtClean="0"/>
              <a:t>®</a:t>
            </a:r>
            <a:r>
              <a:rPr lang="it-IT" dirty="0" smtClean="0"/>
              <a:t> EXPERT LEVEL</a:t>
            </a:r>
            <a:endParaRPr lang="it-IT" dirty="0"/>
          </a:p>
        </p:txBody>
      </p:sp>
      <p:sp>
        <p:nvSpPr>
          <p:cNvPr id="4" name="Segnaposto contenuto 1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altLang="it-IT" sz="1800" dirty="0"/>
              <a:t>For </a:t>
            </a:r>
            <a:r>
              <a:rPr lang="en-US" altLang="it-IT" sz="1800" dirty="0" smtClean="0"/>
              <a:t>ISTQB</a:t>
            </a:r>
            <a:r>
              <a:rPr lang="en-US" altLang="it-IT" sz="1800" baseline="30000" dirty="0" smtClean="0"/>
              <a:t>®</a:t>
            </a:r>
            <a:r>
              <a:rPr lang="en-US" altLang="it-IT" sz="1800" dirty="0" smtClean="0"/>
              <a:t>, </a:t>
            </a:r>
            <a:r>
              <a:rPr lang="en-US" altLang="it-IT" sz="1800" dirty="0"/>
              <a:t>Expert really means </a:t>
            </a:r>
            <a:r>
              <a:rPr lang="en-US" altLang="it-IT" sz="1800" dirty="0" smtClean="0"/>
              <a:t>Expert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“A person with the special skills and knowledge representing mastery of a particular testing subject. </a:t>
            </a:r>
          </a:p>
          <a:p>
            <a:pPr lvl="1">
              <a:spcBef>
                <a:spcPts val="600"/>
              </a:spcBef>
            </a:pPr>
            <a:r>
              <a:rPr lang="en-US" sz="1800" dirty="0"/>
              <a:t>Being an expert means possessing and displaying special skills and knowledge derived from training and experience</a:t>
            </a:r>
            <a:r>
              <a:rPr lang="en-US" sz="1800" dirty="0" smtClean="0"/>
              <a:t>.“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sz="1400" dirty="0" smtClean="0"/>
          </a:p>
          <a:p>
            <a:pPr>
              <a:spcBef>
                <a:spcPts val="600"/>
              </a:spcBef>
            </a:pPr>
            <a:r>
              <a:rPr lang="en-US" altLang="it-IT" sz="1800" dirty="0"/>
              <a:t>Clearly stated expectations and business outcomes are established for each subject covered at Expert Level </a:t>
            </a:r>
            <a:br>
              <a:rPr lang="en-US" altLang="it-IT" sz="1800" dirty="0"/>
            </a:br>
            <a:endParaRPr lang="en-US" sz="1800" dirty="0"/>
          </a:p>
          <a:p>
            <a:pPr marL="0" indent="0">
              <a:spcBef>
                <a:spcPts val="600"/>
              </a:spcBef>
              <a:buNone/>
            </a:pPr>
            <a:endParaRPr lang="en-AU" sz="1800" dirty="0" smtClean="0"/>
          </a:p>
        </p:txBody>
      </p:sp>
    </p:spTree>
    <p:extLst>
      <p:ext uri="{BB962C8B-B14F-4D97-AF65-F5344CB8AC3E}">
        <p14:creationId xmlns:p14="http://schemas.microsoft.com/office/powerpoint/2010/main" val="1230597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TATUS OF EXPERT LEVEL SYLLABI</a:t>
            </a:r>
            <a:endParaRPr lang="it-IT" dirty="0"/>
          </a:p>
        </p:txBody>
      </p:sp>
      <p:sp>
        <p:nvSpPr>
          <p:cNvPr id="24" name="Oval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03848" y="1628800"/>
            <a:ext cx="2376264" cy="1584126"/>
          </a:xfrm>
          <a:prstGeom prst="ellipse">
            <a:avLst/>
          </a:prstGeom>
          <a:solidFill>
            <a:srgbClr val="002060"/>
          </a:solidFill>
          <a:ln w="6350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lIns="72000" tIns="72000" rIns="72000" bIns="72000" anchor="ctr"/>
          <a:lstStyle>
            <a:lvl1pPr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de-DE" altLang="it-IT" sz="2000" dirty="0" smtClean="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ISTQB</a:t>
            </a:r>
            <a:r>
              <a:rPr lang="de-DE" altLang="it-IT" sz="2000" baseline="30000" dirty="0" smtClean="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®</a:t>
            </a:r>
          </a:p>
          <a:p>
            <a:pPr algn="ctr" defTabSz="914400" eaLnBrk="1" hangingPunct="1">
              <a:lnSpc>
                <a:spcPct val="90000"/>
              </a:lnSpc>
            </a:pPr>
            <a:r>
              <a:rPr lang="de-DE" altLang="it-IT" sz="2000" dirty="0" smtClean="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Expert Level</a:t>
            </a:r>
            <a:r>
              <a:rPr lang="de-DE" altLang="it-IT" sz="2000" dirty="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/>
            </a:r>
            <a:br>
              <a:rPr lang="de-DE" altLang="it-IT" sz="2000" dirty="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</a:br>
            <a:r>
              <a:rPr lang="de-DE" altLang="it-IT" sz="2000" dirty="0" smtClean="0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Syllabi</a:t>
            </a:r>
          </a:p>
        </p:txBody>
      </p:sp>
      <p:grpSp>
        <p:nvGrpSpPr>
          <p:cNvPr id="29" name="Group 88"/>
          <p:cNvGrpSpPr>
            <a:grpSpLocks/>
          </p:cNvGrpSpPr>
          <p:nvPr/>
        </p:nvGrpSpPr>
        <p:grpSpPr bwMode="auto">
          <a:xfrm>
            <a:off x="323850" y="3552230"/>
            <a:ext cx="4102100" cy="1604962"/>
            <a:chOff x="204" y="935"/>
            <a:chExt cx="5352" cy="907"/>
          </a:xfrm>
        </p:grpSpPr>
        <p:sp>
          <p:nvSpPr>
            <p:cNvPr id="30" name="AutoShape 85" descr="Verlauf_weiss_grau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4" y="935"/>
              <a:ext cx="5352" cy="907"/>
            </a:xfrm>
            <a:prstGeom prst="roundRect">
              <a:avLst>
                <a:gd name="adj" fmla="val 6176"/>
              </a:avLst>
            </a:prstGeom>
            <a:blipFill dpi="0" rotWithShape="1">
              <a:blip r:embed="rId10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Improving the </a:t>
              </a:r>
              <a:r>
                <a:rPr lang="en-US" altLang="it-IT" sz="1600" dirty="0" smtClean="0">
                  <a:latin typeface="Arial" pitchFamily="34" charset="0"/>
                </a:rPr>
                <a:t>Testing Process</a:t>
              </a: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Test Management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Test Automation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Security Testing </a:t>
              </a: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31" name="Freeform 86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04" y="935"/>
              <a:ext cx="5352" cy="204"/>
            </a:xfrm>
            <a:custGeom>
              <a:avLst/>
              <a:gdLst>
                <a:gd name="T0" fmla="*/ 2676 w 2676"/>
                <a:gd name="T1" fmla="*/ 28 h 102"/>
                <a:gd name="T2" fmla="*/ 2648 w 2676"/>
                <a:gd name="T3" fmla="*/ 0 h 102"/>
                <a:gd name="T4" fmla="*/ 28 w 2676"/>
                <a:gd name="T5" fmla="*/ 0 h 102"/>
                <a:gd name="T6" fmla="*/ 0 w 2676"/>
                <a:gd name="T7" fmla="*/ 28 h 102"/>
                <a:gd name="T8" fmla="*/ 0 w 2676"/>
                <a:gd name="T9" fmla="*/ 102 h 102"/>
                <a:gd name="T10" fmla="*/ 2676 w 2676"/>
                <a:gd name="T11" fmla="*/ 102 h 102"/>
                <a:gd name="T12" fmla="*/ 2676 w 2676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76"/>
                <a:gd name="T22" fmla="*/ 0 h 102"/>
                <a:gd name="T23" fmla="*/ 2676 w 2676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76" h="102">
                  <a:moveTo>
                    <a:pt x="2676" y="28"/>
                  </a:moveTo>
                  <a:cubicBezTo>
                    <a:pt x="2676" y="12"/>
                    <a:pt x="2664" y="0"/>
                    <a:pt x="264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2676" y="102"/>
                    <a:pt x="2676" y="102"/>
                    <a:pt x="2676" y="102"/>
                  </a:cubicBezTo>
                  <a:lnTo>
                    <a:pt x="2676" y="28"/>
                  </a:lnTo>
                  <a:close/>
                </a:path>
              </a:pathLst>
            </a:custGeom>
            <a:solidFill>
              <a:srgbClr val="D31245"/>
            </a:soli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32" name="AutoShap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04" y="935"/>
              <a:ext cx="5352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Module:</a:t>
              </a:r>
            </a:p>
          </p:txBody>
        </p:sp>
      </p:grpSp>
      <p:grpSp>
        <p:nvGrpSpPr>
          <p:cNvPr id="33" name="Group 88"/>
          <p:cNvGrpSpPr>
            <a:grpSpLocks/>
          </p:cNvGrpSpPr>
          <p:nvPr/>
        </p:nvGrpSpPr>
        <p:grpSpPr bwMode="auto">
          <a:xfrm>
            <a:off x="4578350" y="3552230"/>
            <a:ext cx="4102100" cy="1604962"/>
            <a:chOff x="204" y="935"/>
            <a:chExt cx="5352" cy="907"/>
          </a:xfrm>
        </p:grpSpPr>
        <p:sp>
          <p:nvSpPr>
            <p:cNvPr id="34" name="AutoShape 85" descr="Verlauf_weiss_grau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4" y="935"/>
              <a:ext cx="5352" cy="907"/>
            </a:xfrm>
            <a:prstGeom prst="roundRect">
              <a:avLst>
                <a:gd name="adj" fmla="val 6176"/>
              </a:avLst>
            </a:prstGeom>
            <a:blipFill dpi="0" rotWithShape="1">
              <a:blip r:embed="rId10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pproved (June 2010) 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pproved (June 2011)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In development </a:t>
              </a:r>
              <a:r>
                <a:rPr lang="en-US" altLang="it-IT" sz="1600" dirty="0" smtClean="0">
                  <a:latin typeface="Arial" pitchFamily="34" charset="0"/>
                </a:rPr>
                <a:t>(Planned for 2014)</a:t>
              </a: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In development </a:t>
              </a:r>
              <a:r>
                <a:rPr lang="en-US" altLang="it-IT" sz="1600" dirty="0" smtClean="0">
                  <a:latin typeface="Arial" pitchFamily="34" charset="0"/>
                </a:rPr>
                <a:t>(Planned for 2015)</a:t>
              </a: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35" name="Freeform 8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4" y="935"/>
              <a:ext cx="5352" cy="204"/>
            </a:xfrm>
            <a:custGeom>
              <a:avLst/>
              <a:gdLst>
                <a:gd name="T0" fmla="*/ 2676 w 2676"/>
                <a:gd name="T1" fmla="*/ 28 h 102"/>
                <a:gd name="T2" fmla="*/ 2648 w 2676"/>
                <a:gd name="T3" fmla="*/ 0 h 102"/>
                <a:gd name="T4" fmla="*/ 28 w 2676"/>
                <a:gd name="T5" fmla="*/ 0 h 102"/>
                <a:gd name="T6" fmla="*/ 0 w 2676"/>
                <a:gd name="T7" fmla="*/ 28 h 102"/>
                <a:gd name="T8" fmla="*/ 0 w 2676"/>
                <a:gd name="T9" fmla="*/ 102 h 102"/>
                <a:gd name="T10" fmla="*/ 2676 w 2676"/>
                <a:gd name="T11" fmla="*/ 102 h 102"/>
                <a:gd name="T12" fmla="*/ 2676 w 2676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76"/>
                <a:gd name="T22" fmla="*/ 0 h 102"/>
                <a:gd name="T23" fmla="*/ 2676 w 2676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76" h="102">
                  <a:moveTo>
                    <a:pt x="2676" y="28"/>
                  </a:moveTo>
                  <a:cubicBezTo>
                    <a:pt x="2676" y="12"/>
                    <a:pt x="2664" y="0"/>
                    <a:pt x="264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2676" y="102"/>
                    <a:pt x="2676" y="102"/>
                    <a:pt x="2676" y="102"/>
                  </a:cubicBezTo>
                  <a:lnTo>
                    <a:pt x="2676" y="28"/>
                  </a:lnTo>
                  <a:close/>
                </a:path>
              </a:pathLst>
            </a:custGeom>
            <a:solidFill>
              <a:srgbClr val="D31245"/>
            </a:soli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36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4" y="935"/>
              <a:ext cx="5352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Status:</a:t>
              </a:r>
            </a:p>
          </p:txBody>
        </p:sp>
      </p:grpSp>
      <p:sp>
        <p:nvSpPr>
          <p:cNvPr id="2" name="Freccia a destra 1"/>
          <p:cNvSpPr/>
          <p:nvPr/>
        </p:nvSpPr>
        <p:spPr>
          <a:xfrm>
            <a:off x="4117541" y="3963247"/>
            <a:ext cx="510406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Freccia a destra 12"/>
          <p:cNvSpPr/>
          <p:nvPr/>
        </p:nvSpPr>
        <p:spPr>
          <a:xfrm>
            <a:off x="4115979" y="4246699"/>
            <a:ext cx="510406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Freccia a destra 13"/>
          <p:cNvSpPr/>
          <p:nvPr/>
        </p:nvSpPr>
        <p:spPr>
          <a:xfrm>
            <a:off x="4117541" y="4525888"/>
            <a:ext cx="510406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Freccia a destra 14"/>
          <p:cNvSpPr/>
          <p:nvPr/>
        </p:nvSpPr>
        <p:spPr>
          <a:xfrm>
            <a:off x="4117541" y="4797152"/>
            <a:ext cx="510406" cy="21602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05959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PRE-REQUISITES FOR EXPERT LEVEL</a:t>
            </a:r>
            <a:endParaRPr lang="it-IT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52000" y="1484784"/>
            <a:ext cx="6840000" cy="5195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359532" y="1268760"/>
            <a:ext cx="8424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In the following, pre-conditions allowing to take Expert Level exams are shown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3021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egnaposto contenu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>
                <a:ea typeface="ＭＳ Ｐゴシック" pitchFamily="34" charset="-128"/>
              </a:rPr>
              <a:t>The Expert </a:t>
            </a:r>
            <a:r>
              <a:rPr lang="en-US" sz="1800" dirty="0">
                <a:ea typeface="ＭＳ Ｐゴシック" pitchFamily="34" charset="-128"/>
              </a:rPr>
              <a:t>Module “Test Management” is composed </a:t>
            </a:r>
            <a:r>
              <a:rPr lang="en-US" sz="1800" dirty="0" smtClean="0">
                <a:ea typeface="ＭＳ Ｐゴシック" pitchFamily="34" charset="-128"/>
              </a:rPr>
              <a:t>of three parts:</a:t>
            </a:r>
          </a:p>
          <a:p>
            <a:pPr lvl="1">
              <a:buFont typeface="Wingdings" pitchFamily="2" charset="2"/>
              <a:buChar char="Ø"/>
            </a:pPr>
            <a:r>
              <a:rPr lang="en-US" sz="1800" dirty="0" smtClean="0">
                <a:ea typeface="ＭＳ Ｐゴシック" pitchFamily="34" charset="-128"/>
              </a:rPr>
              <a:t>Strategic Test Management</a:t>
            </a:r>
          </a:p>
          <a:p>
            <a:pPr lvl="1">
              <a:buFont typeface="Wingdings" pitchFamily="2" charset="2"/>
              <a:buChar char="Ø"/>
            </a:pPr>
            <a:r>
              <a:rPr lang="en-US" sz="1800" dirty="0" smtClean="0">
                <a:ea typeface="ＭＳ Ｐゴシック" pitchFamily="34" charset="-128"/>
              </a:rPr>
              <a:t>Operational Test Management</a:t>
            </a:r>
          </a:p>
          <a:p>
            <a:pPr lvl="1">
              <a:buFont typeface="Wingdings" pitchFamily="2" charset="2"/>
              <a:buChar char="Ø"/>
            </a:pPr>
            <a:r>
              <a:rPr lang="en-US" sz="1800" dirty="0" smtClean="0">
                <a:ea typeface="ＭＳ Ｐゴシック" pitchFamily="34" charset="-128"/>
              </a:rPr>
              <a:t>Managing the Test Team</a:t>
            </a:r>
          </a:p>
        </p:txBody>
      </p:sp>
      <p:sp>
        <p:nvSpPr>
          <p:cNvPr id="6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TEST MANAGEMENT</a:t>
            </a:r>
            <a:endParaRPr lang="it-IT" i="1" dirty="0"/>
          </a:p>
        </p:txBody>
      </p:sp>
      <p:graphicFrame>
        <p:nvGraphicFramePr>
          <p:cNvPr id="4" name="Diagramma 3"/>
          <p:cNvGraphicFramePr/>
          <p:nvPr>
            <p:extLst>
              <p:ext uri="{D42A27DB-BD31-4B8C-83A1-F6EECF244321}">
                <p14:modId xmlns:p14="http://schemas.microsoft.com/office/powerpoint/2010/main" val="1638994943"/>
              </p:ext>
            </p:extLst>
          </p:nvPr>
        </p:nvGraphicFramePr>
        <p:xfrm>
          <a:off x="611560" y="3501008"/>
          <a:ext cx="8064896" cy="2232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13365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 smtClean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STRATEGIC TEST MANAGEMENT</a:t>
            </a:r>
            <a:endParaRPr lang="it-IT" i="1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814" y="1377701"/>
            <a:ext cx="6372373" cy="5003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805594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 smtClean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OPERATIONAL TEST MANAGEMENT</a:t>
            </a:r>
            <a:endParaRPr lang="it-IT" i="1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187" y="1340768"/>
            <a:ext cx="5857626" cy="5127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741651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 smtClean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MANAGING THE TEST TEAM</a:t>
            </a:r>
            <a:endParaRPr lang="it-IT" i="1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357" y="1268760"/>
            <a:ext cx="2215287" cy="5400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098173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egnaposto contenu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>
                <a:ea typeface="ＭＳ Ｐゴシック" pitchFamily="34" charset="-128"/>
              </a:rPr>
              <a:t>The Expert Module </a:t>
            </a:r>
            <a:r>
              <a:rPr lang="en-US" sz="1800" dirty="0">
                <a:ea typeface="ＭＳ Ｐゴシック" pitchFamily="34" charset="-128"/>
              </a:rPr>
              <a:t>“Improving the </a:t>
            </a:r>
            <a:r>
              <a:rPr lang="en-US" sz="1800" dirty="0" smtClean="0">
                <a:ea typeface="ＭＳ Ｐゴシック" pitchFamily="34" charset="-128"/>
              </a:rPr>
              <a:t>Testing </a:t>
            </a:r>
            <a:r>
              <a:rPr lang="en-US" sz="1800" dirty="0">
                <a:ea typeface="ＭＳ Ｐゴシック" pitchFamily="34" charset="-128"/>
              </a:rPr>
              <a:t>Process” </a:t>
            </a:r>
            <a:r>
              <a:rPr lang="en-US" sz="1800" dirty="0" smtClean="0">
                <a:ea typeface="ＭＳ Ｐゴシック" pitchFamily="34" charset="-128"/>
              </a:rPr>
              <a:t>is composed of two parts:</a:t>
            </a:r>
          </a:p>
          <a:p>
            <a:pPr lvl="1">
              <a:buFont typeface="Wingdings" pitchFamily="2" charset="2"/>
              <a:buChar char="Ø"/>
            </a:pPr>
            <a:r>
              <a:rPr lang="en-US" sz="1800" dirty="0" smtClean="0">
                <a:ea typeface="ＭＳ Ｐゴシック" pitchFamily="34" charset="-128"/>
              </a:rPr>
              <a:t>Assessing Test </a:t>
            </a:r>
            <a:r>
              <a:rPr lang="en-US" sz="1800" dirty="0">
                <a:ea typeface="ＭＳ Ｐゴシック" pitchFamily="34" charset="-128"/>
              </a:rPr>
              <a:t>Processes</a:t>
            </a:r>
          </a:p>
          <a:p>
            <a:pPr lvl="1">
              <a:buFont typeface="Wingdings" pitchFamily="2" charset="2"/>
              <a:buChar char="Ø"/>
            </a:pPr>
            <a:r>
              <a:rPr lang="en-US" sz="1800" dirty="0" smtClean="0">
                <a:ea typeface="ＭＳ Ｐゴシック" pitchFamily="34" charset="-128"/>
              </a:rPr>
              <a:t>Implementing Test Process Improvement</a:t>
            </a:r>
          </a:p>
        </p:txBody>
      </p:sp>
      <p:sp>
        <p:nvSpPr>
          <p:cNvPr id="6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IMPROVING THE TESTING PROCESS</a:t>
            </a:r>
            <a:endParaRPr lang="it-IT" i="1" dirty="0"/>
          </a:p>
        </p:txBody>
      </p:sp>
      <p:graphicFrame>
        <p:nvGraphicFramePr>
          <p:cNvPr id="4" name="Diagramma 3"/>
          <p:cNvGraphicFramePr/>
          <p:nvPr>
            <p:extLst>
              <p:ext uri="{D42A27DB-BD31-4B8C-83A1-F6EECF244321}">
                <p14:modId xmlns:p14="http://schemas.microsoft.com/office/powerpoint/2010/main" val="2640853766"/>
              </p:ext>
            </p:extLst>
          </p:nvPr>
        </p:nvGraphicFramePr>
        <p:xfrm>
          <a:off x="503548" y="3501008"/>
          <a:ext cx="8136904" cy="2448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9523732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ASSESSING TEST PROCESSES</a:t>
            </a:r>
            <a:endParaRPr lang="it-IT" i="1" dirty="0">
              <a:solidFill>
                <a:srgbClr val="FFFF00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00"/>
          <a:stretch/>
        </p:blipFill>
        <p:spPr bwMode="auto">
          <a:xfrm>
            <a:off x="1260569" y="1290946"/>
            <a:ext cx="6622862" cy="499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641060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5"/>
          <p:cNvSpPr/>
          <p:nvPr/>
        </p:nvSpPr>
        <p:spPr>
          <a:xfrm>
            <a:off x="837790" y="2253208"/>
            <a:ext cx="7488832" cy="29759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Wingdings" pitchFamily="2" charset="2"/>
              <a:buNone/>
            </a:pPr>
            <a:r>
              <a:rPr lang="en-US" sz="2000" dirty="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“To continually improve and advance the software testing profession by:</a:t>
            </a:r>
          </a:p>
          <a:p>
            <a:pPr algn="ctr">
              <a:buFont typeface="Wingdings" pitchFamily="2" charset="2"/>
              <a:buNone/>
            </a:pPr>
            <a:r>
              <a:rPr lang="en-US" sz="2000" dirty="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Defining and maintaining a Body of Knowledge which allows testers to be certified based on best practices, connecting the international software testing community, and encouraging research.”</a:t>
            </a:r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>
                <a:cs typeface="Arial" pitchFamily="34" charset="0"/>
              </a:rPr>
              <a:t>ISTQB</a:t>
            </a:r>
            <a:r>
              <a:rPr lang="it-IT" baseline="30000" dirty="0"/>
              <a:t>®</a:t>
            </a:r>
            <a:r>
              <a:rPr lang="it-IT" dirty="0" smtClean="0">
                <a:cs typeface="Arial" pitchFamily="34" charset="0"/>
              </a:rPr>
              <a:t> VISION</a:t>
            </a:r>
            <a:endParaRPr lang="it-IT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799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EXPERT LEVEL</a:t>
            </a:r>
            <a:br>
              <a:rPr lang="de-DE" dirty="0" smtClean="0"/>
            </a:br>
            <a:r>
              <a:rPr lang="de-DE" i="1" dirty="0" smtClean="0"/>
              <a:t>IMPLEMENTING TEST PROCESS IMPROVEMENT</a:t>
            </a:r>
            <a:endParaRPr lang="it-IT" i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114" y="1268760"/>
            <a:ext cx="6683773" cy="4542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852695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ma 12"/>
          <p:cNvGraphicFramePr/>
          <p:nvPr>
            <p:extLst>
              <p:ext uri="{D42A27DB-BD31-4B8C-83A1-F6EECF244321}">
                <p14:modId xmlns:p14="http://schemas.microsoft.com/office/powerpoint/2010/main" val="2288511895"/>
              </p:ext>
            </p:extLst>
          </p:nvPr>
        </p:nvGraphicFramePr>
        <p:xfrm>
          <a:off x="1043608" y="1753908"/>
          <a:ext cx="7488832" cy="4267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47624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egnaposto contenuto 1"/>
          <p:cNvSpPr>
            <a:spLocks noGrp="1"/>
          </p:cNvSpPr>
          <p:nvPr>
            <p:ph idx="1"/>
          </p:nvPr>
        </p:nvSpPr>
        <p:spPr>
          <a:xfrm>
            <a:off x="395536" y="1484784"/>
            <a:ext cx="8352928" cy="324036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>
                <a:ea typeface="ＭＳ Ｐゴシック" pitchFamily="34" charset="-128"/>
              </a:rPr>
              <a:t>The exam is based </a:t>
            </a:r>
            <a:r>
              <a:rPr lang="en-US" sz="1600" dirty="0">
                <a:ea typeface="ＭＳ Ｐゴシック" pitchFamily="34" charset="-128"/>
              </a:rPr>
              <a:t>o</a:t>
            </a:r>
            <a:r>
              <a:rPr lang="en-US" sz="1600" dirty="0" smtClean="0">
                <a:ea typeface="ＭＳ Ｐゴシック" pitchFamily="34" charset="-128"/>
              </a:rPr>
              <a:t>n multiple-choice questions for Foundation and Advanced Levels</a:t>
            </a:r>
            <a:endParaRPr lang="en-US" sz="1600" b="1" dirty="0" smtClean="0">
              <a:solidFill>
                <a:srgbClr val="FF0000"/>
              </a:solidFill>
              <a:ea typeface="ＭＳ Ｐゴシック" pitchFamily="34" charset="-128"/>
            </a:endParaRP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>
                <a:ea typeface="ＭＳ Ｐゴシック" pitchFamily="34" charset="-128"/>
              </a:rPr>
              <a:t>For Expert Level, an essay is also required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sz="1600" dirty="0" smtClean="0">
                <a:ea typeface="ＭＳ Ｐゴシック" pitchFamily="34" charset="-128"/>
              </a:rPr>
              <a:t>Exams can be </a:t>
            </a:r>
            <a:r>
              <a:rPr lang="en-US" sz="1600" dirty="0">
                <a:ea typeface="ＭＳ Ｐゴシック" pitchFamily="34" charset="-128"/>
              </a:rPr>
              <a:t>attempted</a:t>
            </a:r>
            <a:r>
              <a:rPr lang="en-US" sz="1600" dirty="0" smtClean="0">
                <a:ea typeface="ＭＳ Ｐゴシック" pitchFamily="34" charset="-128"/>
              </a:rPr>
              <a:t> </a:t>
            </a:r>
            <a:r>
              <a:rPr lang="en-US" sz="1600" dirty="0">
                <a:ea typeface="ＭＳ Ｐゴシック" pitchFamily="34" charset="-128"/>
              </a:rPr>
              <a:t>without having attended a training course (e.g. through self-study)</a:t>
            </a:r>
          </a:p>
          <a:p>
            <a:pPr>
              <a:spcAft>
                <a:spcPts val="0"/>
              </a:spcAft>
            </a:pPr>
            <a:r>
              <a:rPr lang="en-US" sz="1600" dirty="0" smtClean="0">
                <a:ea typeface="ＭＳ Ｐゴシック" pitchFamily="34" charset="-128"/>
              </a:rPr>
              <a:t>Number </a:t>
            </a:r>
            <a:r>
              <a:rPr lang="en-US" sz="1600" dirty="0">
                <a:ea typeface="ＭＳ Ｐゴシック" pitchFamily="34" charset="-128"/>
              </a:rPr>
              <a:t>of questions and </a:t>
            </a:r>
            <a:r>
              <a:rPr lang="en-US" sz="1600" dirty="0" smtClean="0">
                <a:ea typeface="ＭＳ Ｐゴシック" pitchFamily="34" charset="-128"/>
              </a:rPr>
              <a:t>exams length:</a:t>
            </a:r>
            <a:endParaRPr lang="en-US" sz="1600" dirty="0">
              <a:ea typeface="ＭＳ Ｐゴシック" pitchFamily="34" charset="-128"/>
            </a:endParaRPr>
          </a:p>
          <a:p>
            <a:pPr lvl="1">
              <a:buFont typeface="Wingdings" pitchFamily="2" charset="2"/>
              <a:buChar char="Ø"/>
            </a:pPr>
            <a:r>
              <a:rPr lang="en-US" sz="1600" dirty="0" smtClean="0">
                <a:ea typeface="ＭＳ Ｐゴシック" pitchFamily="34" charset="-128"/>
              </a:rPr>
              <a:t>Foundation exam and Extensions: 40 questions, length = 1 </a:t>
            </a:r>
            <a:r>
              <a:rPr lang="en-US" sz="1600" dirty="0">
                <a:ea typeface="ＭＳ Ｐゴシック" pitchFamily="34" charset="-128"/>
              </a:rPr>
              <a:t>hour (7</a:t>
            </a:r>
            <a:r>
              <a:rPr lang="en-US" sz="1600" dirty="0" smtClean="0">
                <a:ea typeface="ＭＳ Ｐゴシック" pitchFamily="34" charset="-128"/>
              </a:rPr>
              <a:t>5 minutes for candidates taking exams not in their native language)</a:t>
            </a:r>
          </a:p>
          <a:p>
            <a:pPr lvl="1">
              <a:buFont typeface="Wingdings" pitchFamily="2" charset="2"/>
              <a:buChar char="Ø"/>
            </a:pPr>
            <a:r>
              <a:rPr lang="en-US" sz="1600" dirty="0" smtClean="0">
                <a:ea typeface="ＭＳ Ｐゴシック" pitchFamily="34" charset="-128"/>
              </a:rPr>
              <a:t>Advanced exams: different lengths and questions, depending on the module (25% more time for candidates taking exams not in their native language)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AMS</a:t>
            </a:r>
            <a:endParaRPr lang="it-IT" dirty="0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8107"/>
              </p:ext>
            </p:extLst>
          </p:nvPr>
        </p:nvGraphicFramePr>
        <p:xfrm>
          <a:off x="539552" y="4253746"/>
          <a:ext cx="8064896" cy="216058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493751"/>
                <a:gridCol w="1694925"/>
                <a:gridCol w="1842310"/>
                <a:gridCol w="2033910"/>
              </a:tblGrid>
              <a:tr h="7730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600" dirty="0" smtClean="0">
                          <a:effectLst/>
                        </a:rPr>
                        <a:t>MODULE</a:t>
                      </a:r>
                      <a:endParaRPr lang="it-IT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600" dirty="0" smtClean="0">
                          <a:effectLst/>
                        </a:rPr>
                        <a:t>NUMBER OF QUESTIONS</a:t>
                      </a:r>
                      <a:endParaRPr lang="it-IT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457200" algn="l"/>
                          <a:tab pos="449580" algn="l"/>
                        </a:tabLst>
                      </a:pPr>
                      <a:r>
                        <a:rPr lang="nl-NL" sz="1600" dirty="0" smtClean="0">
                          <a:effectLst/>
                        </a:rPr>
                        <a:t>EXAM LENGTH </a:t>
                      </a:r>
                      <a:endParaRPr lang="it-IT" sz="16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600" dirty="0" smtClean="0">
                          <a:effectLst/>
                        </a:rPr>
                        <a:t>(IN MINUTES)</a:t>
                      </a:r>
                      <a:endParaRPr lang="it-IT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457200" algn="l"/>
                          <a:tab pos="449580" algn="l"/>
                        </a:tabLst>
                      </a:pPr>
                      <a:r>
                        <a:rPr lang="nl-NL" sz="1600" dirty="0" smtClean="0">
                          <a:effectLst/>
                        </a:rPr>
                        <a:t>EXAM LENGTH FOR NON NATIVE</a:t>
                      </a:r>
                      <a:r>
                        <a:rPr lang="nl-NL" sz="1600" baseline="0" dirty="0" smtClean="0">
                          <a:effectLst/>
                        </a:rPr>
                        <a:t> LANGUAGE </a:t>
                      </a:r>
                      <a:endParaRPr lang="it-IT" sz="1600" dirty="0" smtClean="0">
                        <a:effectLst/>
                      </a:endParaRPr>
                    </a:p>
                  </a:txBody>
                  <a:tcPr marL="68573" marR="68573" marT="0" marB="0" anchor="ctr">
                    <a:solidFill>
                      <a:schemeClr val="tx2"/>
                    </a:solidFill>
                  </a:tcPr>
                </a:tc>
              </a:tr>
              <a:tr h="4559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ADVANCED TEST MANAGER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65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180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225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</a:tr>
              <a:tr h="4559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ADVANCED TEST ANALYST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60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180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225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</a:tr>
              <a:tr h="47572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ADVANCED TECHNICAL TEST ANALYST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45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120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l-NL" sz="1400" dirty="0" smtClean="0">
                          <a:effectLst/>
                        </a:rPr>
                        <a:t>150</a:t>
                      </a:r>
                      <a:endParaRPr lang="it-IT" sz="20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92883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78657" y="1700808"/>
            <a:ext cx="7786687" cy="4065588"/>
          </a:xfrm>
        </p:spPr>
        <p:txBody>
          <a:bodyPr/>
          <a:lstStyle/>
          <a:p>
            <a:pPr>
              <a:defRPr/>
            </a:pPr>
            <a:r>
              <a:rPr lang="en-US" sz="1800" dirty="0">
                <a:ea typeface="ＭＳ Ｐゴシック" pitchFamily="34" charset="-128"/>
              </a:rPr>
              <a:t>Questions are </a:t>
            </a:r>
            <a:r>
              <a:rPr lang="en-AU" sz="1800" dirty="0">
                <a:ea typeface="ＭＳ Ｐゴシック" pitchFamily="34" charset="-128"/>
              </a:rPr>
              <a:t>classified according to the cognitive level, the K-level (also known as level of knowledge</a:t>
            </a:r>
            <a:r>
              <a:rPr lang="en-AU" sz="1800" dirty="0" smtClean="0">
                <a:ea typeface="ＭＳ Ｐゴシック" pitchFamily="34" charset="-128"/>
              </a:rPr>
              <a:t>):</a:t>
            </a:r>
            <a:endParaRPr lang="en-US" sz="1800" dirty="0">
              <a:ea typeface="ＭＳ Ｐゴシック" pitchFamily="34" charset="-128"/>
            </a:endParaRPr>
          </a:p>
          <a:p>
            <a:pPr lvl="1">
              <a:buFontTx/>
              <a:buNone/>
              <a:defRPr/>
            </a:pPr>
            <a:r>
              <a:rPr lang="en-US" sz="1500" dirty="0">
                <a:ea typeface="ＭＳ Ｐゴシック" pitchFamily="34" charset="-128"/>
              </a:rPr>
              <a:t>• K1 = Remember (recognize a term or concept)</a:t>
            </a:r>
          </a:p>
          <a:p>
            <a:pPr lvl="1">
              <a:buFontTx/>
              <a:buNone/>
              <a:defRPr/>
            </a:pPr>
            <a:r>
              <a:rPr lang="en-US" sz="1500" dirty="0">
                <a:ea typeface="ＭＳ Ｐゴシック" pitchFamily="34" charset="-128"/>
              </a:rPr>
              <a:t>• K2 = Understand (able to explain a concept)</a:t>
            </a:r>
          </a:p>
          <a:p>
            <a:pPr lvl="1">
              <a:buFontTx/>
              <a:buNone/>
              <a:defRPr/>
            </a:pPr>
            <a:r>
              <a:rPr lang="en-US" sz="1500" dirty="0">
                <a:ea typeface="ＭＳ Ｐゴシック" pitchFamily="34" charset="-128"/>
              </a:rPr>
              <a:t>• K3 = Apply (select correct application of concept or technique)</a:t>
            </a:r>
          </a:p>
          <a:p>
            <a:pPr lvl="1">
              <a:buFontTx/>
              <a:buNone/>
              <a:defRPr/>
            </a:pPr>
            <a:r>
              <a:rPr lang="en-US" sz="1500" dirty="0">
                <a:ea typeface="ＭＳ Ｐゴシック" pitchFamily="34" charset="-128"/>
              </a:rPr>
              <a:t>• K4 = Analyze (</a:t>
            </a:r>
            <a:r>
              <a:rPr lang="en-AU" sz="1500" dirty="0">
                <a:ea typeface="ＭＳ Ｐゴシック" pitchFamily="34" charset="-128"/>
              </a:rPr>
              <a:t>can distinguish between facts and inferences for deeper understanding</a:t>
            </a:r>
            <a:r>
              <a:rPr lang="en-US" sz="1500" dirty="0">
                <a:ea typeface="ＭＳ Ｐゴシック" pitchFamily="34" charset="-128"/>
              </a:rPr>
              <a:t>)</a:t>
            </a:r>
          </a:p>
          <a:p>
            <a:pPr lvl="1">
              <a:buFontTx/>
              <a:buNone/>
              <a:defRPr/>
            </a:pPr>
            <a:r>
              <a:rPr lang="en-US" sz="1500" dirty="0">
                <a:ea typeface="ＭＳ Ｐゴシック" pitchFamily="34" charset="-128"/>
              </a:rPr>
              <a:t>• K5 = Evaluate (can make judgments based on criteria and standards)</a:t>
            </a:r>
          </a:p>
          <a:p>
            <a:pPr lvl="1">
              <a:buFontTx/>
              <a:buNone/>
              <a:defRPr/>
            </a:pPr>
            <a:r>
              <a:rPr lang="en-US" sz="1500" dirty="0">
                <a:ea typeface="ＭＳ Ｐゴシック" pitchFamily="34" charset="-128"/>
              </a:rPr>
              <a:t>• K6 = Create (</a:t>
            </a:r>
            <a:r>
              <a:rPr lang="en-AU" sz="1500" dirty="0">
                <a:ea typeface="ＭＳ Ｐゴシック" pitchFamily="34" charset="-128"/>
              </a:rPr>
              <a:t>can put elements together to form a coherent or functional whole</a:t>
            </a:r>
            <a:r>
              <a:rPr lang="en-US" sz="1500" dirty="0">
                <a:ea typeface="ＭＳ Ｐゴシック" pitchFamily="34" charset="-128"/>
              </a:rPr>
              <a:t>)</a:t>
            </a:r>
          </a:p>
          <a:p>
            <a:pPr>
              <a:buClr>
                <a:srgbClr val="0099CC"/>
              </a:buClr>
              <a:defRPr/>
            </a:pPr>
            <a:endParaRPr lang="en-US" sz="1800" dirty="0">
              <a:ea typeface="ＭＳ Ｐゴシック" pitchFamily="34" charset="-128"/>
            </a:endParaRPr>
          </a:p>
          <a:p>
            <a:pPr>
              <a:defRPr/>
            </a:pPr>
            <a:r>
              <a:rPr lang="en-US" sz="1800" dirty="0">
                <a:ea typeface="ＭＳ Ｐゴシック" pitchFamily="34" charset="-128"/>
              </a:rPr>
              <a:t>The number of questions for each topic is related to the length of the topic in the syllabus</a:t>
            </a:r>
          </a:p>
          <a:p>
            <a:pPr>
              <a:defRPr/>
            </a:pPr>
            <a:endParaRPr lang="en-US" sz="1800" dirty="0">
              <a:ea typeface="ＭＳ Ｐゴシック" pitchFamily="34" charset="-128"/>
            </a:endParaRPr>
          </a:p>
          <a:p>
            <a:pPr>
              <a:defRPr/>
            </a:pPr>
            <a:r>
              <a:rPr lang="en-US" sz="1800" dirty="0">
                <a:ea typeface="ＭＳ Ｐゴシック" pitchFamily="34" charset="-128"/>
              </a:rPr>
              <a:t>For more details, see the FAQ section in the ISTQB</a:t>
            </a:r>
            <a:r>
              <a:rPr lang="en-US" sz="1800" baseline="30000" dirty="0">
                <a:ea typeface="ＭＳ Ｐゴシック" pitchFamily="34" charset="-128"/>
              </a:rPr>
              <a:t>®</a:t>
            </a:r>
            <a:r>
              <a:rPr lang="en-US" sz="1800" dirty="0">
                <a:ea typeface="ＭＳ Ｐゴシック" pitchFamily="34" charset="-128"/>
              </a:rPr>
              <a:t> Website</a:t>
            </a:r>
          </a:p>
          <a:p>
            <a:pPr>
              <a:buClr>
                <a:srgbClr val="0099CC"/>
              </a:buClr>
              <a:defRPr/>
            </a:pPr>
            <a:endParaRPr lang="en-US" sz="1500" dirty="0">
              <a:ea typeface="ＭＳ Ｐゴシック" pitchFamily="34" charset="-128"/>
            </a:endParaRPr>
          </a:p>
          <a:p>
            <a:pPr>
              <a:defRPr/>
            </a:pP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111125" y="38100"/>
            <a:ext cx="8229600" cy="1143000"/>
          </a:xfrm>
        </p:spPr>
        <p:txBody>
          <a:bodyPr/>
          <a:lstStyle/>
          <a:p>
            <a:r>
              <a:rPr lang="it-IT" dirty="0" smtClean="0"/>
              <a:t>EXAM QUESTION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773791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RITERIA TO ACHIEVE EXPERT LEVEL</a:t>
            </a:r>
            <a:endParaRPr lang="it-IT" dirty="0"/>
          </a:p>
        </p:txBody>
      </p:sp>
      <p:sp>
        <p:nvSpPr>
          <p:cNvPr id="6" name="Oval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51275" y="3141663"/>
            <a:ext cx="1441450" cy="1441450"/>
          </a:xfrm>
          <a:prstGeom prst="ellipse">
            <a:avLst/>
          </a:prstGeom>
          <a:solidFill>
            <a:srgbClr val="D31245"/>
          </a:solidFill>
          <a:ln w="6350" algn="ctr">
            <a:solidFill>
              <a:srgbClr val="A80058"/>
            </a:solidFill>
            <a:round/>
            <a:headEnd/>
            <a:tailEnd/>
          </a:ln>
        </p:spPr>
        <p:txBody>
          <a:bodyPr lIns="72000" tIns="72000" rIns="72000" bIns="72000" anchor="ctr"/>
          <a:lstStyle>
            <a:lvl1pPr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</a:pPr>
            <a:r>
              <a:rPr lang="de-DE" altLang="it-IT" sz="1600">
                <a:solidFill>
                  <a:srgbClr val="FFFFFF"/>
                </a:solidFill>
                <a:latin typeface="Arial" pitchFamily="34" charset="0"/>
                <a:ea typeface="ＭＳ Ｐゴシック" pitchFamily="34" charset="-128"/>
                <a:cs typeface="Times New Roman" pitchFamily="18" charset="0"/>
              </a:rPr>
              <a:t>The Exam</a:t>
            </a:r>
          </a:p>
        </p:txBody>
      </p:sp>
      <p:sp>
        <p:nvSpPr>
          <p:cNvPr id="7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3559175" y="3790950"/>
            <a:ext cx="296863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9525" algn="ctr">
            <a:solidFill>
              <a:srgbClr val="A80058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endParaRPr lang="de-DE" altLang="it-IT" sz="1600">
              <a:latin typeface="Arial" pitchFamily="34" charset="0"/>
            </a:endParaRPr>
          </a:p>
        </p:txBody>
      </p:sp>
      <p:grpSp>
        <p:nvGrpSpPr>
          <p:cNvPr id="8" name="Group 44"/>
          <p:cNvGrpSpPr>
            <a:grpSpLocks/>
          </p:cNvGrpSpPr>
          <p:nvPr/>
        </p:nvGrpSpPr>
        <p:grpSpPr bwMode="auto">
          <a:xfrm>
            <a:off x="323850" y="1484313"/>
            <a:ext cx="3240088" cy="4465637"/>
            <a:chOff x="204" y="935"/>
            <a:chExt cx="2041" cy="2813"/>
          </a:xfrm>
        </p:grpSpPr>
        <p:sp>
          <p:nvSpPr>
            <p:cNvPr id="9" name="AutoShape 11" descr="Verlauf_weiss_grau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04" y="935"/>
              <a:ext cx="2041" cy="2813"/>
            </a:xfrm>
            <a:prstGeom prst="roundRect">
              <a:avLst>
                <a:gd name="adj" fmla="val 2745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en-US" altLang="it-IT" sz="1600" dirty="0">
                  <a:latin typeface="Arial" pitchFamily="34" charset="0"/>
                </a:rPr>
                <a:t>Recommended :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t least 7 years of practical testing experience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Completion of Expert Level course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en-US" altLang="it-IT" sz="1600" dirty="0">
                  <a:latin typeface="Arial" pitchFamily="34" charset="0"/>
                </a:rPr>
                <a:t>Mandatory: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ISTQB </a:t>
              </a:r>
              <a:r>
                <a:rPr lang="en-US" altLang="it-IT" sz="1600" dirty="0" smtClean="0">
                  <a:latin typeface="Arial" pitchFamily="34" charset="0"/>
                </a:rPr>
                <a:t>Foundation</a:t>
              </a: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ISTQB Advanced (depending on Expert Level module)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Completion of Expert Level course (if a non-public exam is taken) </a:t>
              </a: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10" name="Freeform 43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204" y="935"/>
              <a:ext cx="2041" cy="204"/>
            </a:xfrm>
            <a:custGeom>
              <a:avLst/>
              <a:gdLst>
                <a:gd name="T0" fmla="*/ 1020 w 1020"/>
                <a:gd name="T1" fmla="*/ 28 h 102"/>
                <a:gd name="T2" fmla="*/ 992 w 1020"/>
                <a:gd name="T3" fmla="*/ 0 h 102"/>
                <a:gd name="T4" fmla="*/ 28 w 1020"/>
                <a:gd name="T5" fmla="*/ 0 h 102"/>
                <a:gd name="T6" fmla="*/ 0 w 1020"/>
                <a:gd name="T7" fmla="*/ 28 h 102"/>
                <a:gd name="T8" fmla="*/ 0 w 1020"/>
                <a:gd name="T9" fmla="*/ 102 h 102"/>
                <a:gd name="T10" fmla="*/ 1020 w 1020"/>
                <a:gd name="T11" fmla="*/ 102 h 102"/>
                <a:gd name="T12" fmla="*/ 1020 w 1020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20"/>
                <a:gd name="T22" fmla="*/ 0 h 102"/>
                <a:gd name="T23" fmla="*/ 1020 w 1020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20" h="102">
                  <a:moveTo>
                    <a:pt x="1020" y="28"/>
                  </a:moveTo>
                  <a:cubicBezTo>
                    <a:pt x="1020" y="13"/>
                    <a:pt x="1008" y="0"/>
                    <a:pt x="99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20" y="102"/>
                    <a:pt x="1020" y="102"/>
                    <a:pt x="1020" y="102"/>
                  </a:cubicBezTo>
                  <a:lnTo>
                    <a:pt x="1020" y="28"/>
                  </a:lnTo>
                  <a:close/>
                </a:path>
              </a:pathLst>
            </a:custGeom>
            <a:solidFill>
              <a:srgbClr val="002060"/>
            </a:solidFill>
            <a:ln w="6350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it-IT"/>
            </a:p>
          </p:txBody>
        </p:sp>
        <p:sp>
          <p:nvSpPr>
            <p:cNvPr id="11" name="AutoShap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04" y="935"/>
              <a:ext cx="2040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Entry criteria</a:t>
              </a:r>
            </a:p>
          </p:txBody>
        </p:sp>
      </p:grpSp>
      <p:grpSp>
        <p:nvGrpSpPr>
          <p:cNvPr id="12" name="Group 49"/>
          <p:cNvGrpSpPr>
            <a:grpSpLocks/>
          </p:cNvGrpSpPr>
          <p:nvPr/>
        </p:nvGrpSpPr>
        <p:grpSpPr bwMode="auto">
          <a:xfrm>
            <a:off x="5580063" y="1484313"/>
            <a:ext cx="3240087" cy="4465637"/>
            <a:chOff x="204" y="935"/>
            <a:chExt cx="2041" cy="2813"/>
          </a:xfrm>
        </p:grpSpPr>
        <p:sp>
          <p:nvSpPr>
            <p:cNvPr id="13" name="AutoShape 50" descr="Verlauf_weiss_grau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4" y="935"/>
              <a:ext cx="2041" cy="2813"/>
            </a:xfrm>
            <a:prstGeom prst="roundRect">
              <a:avLst>
                <a:gd name="adj" fmla="val 2745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de-DE" altLang="it-IT" sz="1600" dirty="0">
                  <a:latin typeface="Arial" pitchFamily="34" charset="0"/>
                </a:rPr>
                <a:t>Exam </a:t>
              </a:r>
              <a:r>
                <a:rPr lang="de-DE" altLang="it-IT" sz="1600" dirty="0" err="1">
                  <a:latin typeface="Arial" pitchFamily="34" charset="0"/>
                </a:rPr>
                <a:t>passed</a:t>
              </a:r>
              <a:r>
                <a:rPr lang="de-DE" altLang="it-IT" sz="1600" dirty="0">
                  <a:latin typeface="Arial" pitchFamily="34" charset="0"/>
                </a:rPr>
                <a:t> </a:t>
              </a:r>
              <a:r>
                <a:rPr lang="de-DE" altLang="it-IT" sz="1600" dirty="0" smtClean="0">
                  <a:latin typeface="Arial" pitchFamily="34" charset="0"/>
                </a:rPr>
                <a:t>(75</a:t>
              </a:r>
              <a:r>
                <a:rPr lang="de-DE" altLang="it-IT" sz="1600" dirty="0">
                  <a:latin typeface="Arial" pitchFamily="34" charset="0"/>
                </a:rPr>
                <a:t>%)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Experience levels (may be achieved before or after passing the exam)</a:t>
              </a:r>
            </a:p>
            <a:p>
              <a:pPr marL="466725" lvl="2" indent="-285750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600" dirty="0">
                  <a:latin typeface="Arial" pitchFamily="34" charset="0"/>
                </a:rPr>
                <a:t>At least 5 years of practical testing experience</a:t>
              </a:r>
            </a:p>
            <a:p>
              <a:pPr marL="466725" lvl="2" indent="-285750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600" dirty="0">
                  <a:latin typeface="Arial" pitchFamily="34" charset="0"/>
                </a:rPr>
                <a:t>At least 2 years of industry experience in the specific Expert Level topic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14" name="Freeform 51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04" y="935"/>
              <a:ext cx="2041" cy="204"/>
            </a:xfrm>
            <a:custGeom>
              <a:avLst/>
              <a:gdLst>
                <a:gd name="T0" fmla="*/ 1020 w 1020"/>
                <a:gd name="T1" fmla="*/ 28 h 102"/>
                <a:gd name="T2" fmla="*/ 992 w 1020"/>
                <a:gd name="T3" fmla="*/ 0 h 102"/>
                <a:gd name="T4" fmla="*/ 28 w 1020"/>
                <a:gd name="T5" fmla="*/ 0 h 102"/>
                <a:gd name="T6" fmla="*/ 0 w 1020"/>
                <a:gd name="T7" fmla="*/ 28 h 102"/>
                <a:gd name="T8" fmla="*/ 0 w 1020"/>
                <a:gd name="T9" fmla="*/ 102 h 102"/>
                <a:gd name="T10" fmla="*/ 1020 w 1020"/>
                <a:gd name="T11" fmla="*/ 102 h 102"/>
                <a:gd name="T12" fmla="*/ 1020 w 1020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20"/>
                <a:gd name="T22" fmla="*/ 0 h 102"/>
                <a:gd name="T23" fmla="*/ 1020 w 1020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20" h="102">
                  <a:moveTo>
                    <a:pt x="1020" y="28"/>
                  </a:moveTo>
                  <a:cubicBezTo>
                    <a:pt x="1020" y="13"/>
                    <a:pt x="1008" y="0"/>
                    <a:pt x="99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1020" y="102"/>
                    <a:pt x="1020" y="102"/>
                    <a:pt x="1020" y="102"/>
                  </a:cubicBezTo>
                  <a:lnTo>
                    <a:pt x="1020" y="28"/>
                  </a:lnTo>
                  <a:close/>
                </a:path>
              </a:pathLst>
            </a:custGeom>
            <a:solidFill>
              <a:srgbClr val="002060"/>
            </a:solidFill>
            <a:ln w="6350" cap="flat" cmpd="sng">
              <a:solidFill>
                <a:srgbClr val="333333"/>
              </a:solidFill>
              <a:prstDash val="solid"/>
              <a:round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endParaRPr lang="it-IT"/>
            </a:p>
          </p:txBody>
        </p:sp>
        <p:sp>
          <p:nvSpPr>
            <p:cNvPr id="15" name="AutoShap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935"/>
              <a:ext cx="2040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Exit criteria</a:t>
              </a:r>
            </a:p>
          </p:txBody>
        </p:sp>
      </p:grpSp>
      <p:sp>
        <p:nvSpPr>
          <p:cNvPr id="16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5299075" y="3790950"/>
            <a:ext cx="296863" cy="144463"/>
          </a:xfrm>
          <a:prstGeom prst="triangle">
            <a:avLst>
              <a:gd name="adj" fmla="val 50000"/>
            </a:avLst>
          </a:prstGeom>
          <a:gradFill rotWithShape="1">
            <a:gsLst>
              <a:gs pos="0">
                <a:srgbClr val="F6A8D1"/>
              </a:gs>
              <a:gs pos="39999">
                <a:srgbClr val="EF39A1"/>
              </a:gs>
              <a:gs pos="41000">
                <a:srgbClr val="E20074"/>
              </a:gs>
              <a:gs pos="100000">
                <a:srgbClr val="A80058"/>
              </a:gs>
            </a:gsLst>
            <a:lin ang="5400000" scaled="1"/>
          </a:gradFill>
          <a:ln w="9525" algn="ctr">
            <a:solidFill>
              <a:srgbClr val="A80058"/>
            </a:solidFill>
            <a:miter lim="800000"/>
            <a:headEnd/>
            <a:tailEnd/>
          </a:ln>
        </p:spPr>
        <p:txBody>
          <a:bodyPr rot="10800000" vert="eaVert" lIns="72000" tIns="72000" rIns="72000" bIns="72000" anchor="ctr"/>
          <a:lstStyle>
            <a:lvl1pPr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68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200">
                <a:solidFill>
                  <a:schemeClr val="tx1"/>
                </a:solidFill>
                <a:latin typeface="Tele-GroteskNor" pitchFamily="2" charset="0"/>
                <a:cs typeface="Arial" pitchFamily="34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endParaRPr lang="de-DE" altLang="it-IT" sz="16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8964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XPERT LEVEL EXAM</a:t>
            </a:r>
            <a:endParaRPr lang="it-IT" dirty="0"/>
          </a:p>
        </p:txBody>
      </p:sp>
      <p:grpSp>
        <p:nvGrpSpPr>
          <p:cNvPr id="17" name="Group 88"/>
          <p:cNvGrpSpPr>
            <a:grpSpLocks/>
          </p:cNvGrpSpPr>
          <p:nvPr/>
        </p:nvGrpSpPr>
        <p:grpSpPr bwMode="auto">
          <a:xfrm>
            <a:off x="323850" y="1484313"/>
            <a:ext cx="8496300" cy="1617662"/>
            <a:chOff x="204" y="935"/>
            <a:chExt cx="5352" cy="907"/>
          </a:xfrm>
        </p:grpSpPr>
        <p:sp>
          <p:nvSpPr>
            <p:cNvPr id="18" name="AutoShape 85" descr="Verlauf_weiss_grau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04" y="935"/>
              <a:ext cx="5352" cy="907"/>
            </a:xfrm>
            <a:prstGeom prst="roundRect">
              <a:avLst>
                <a:gd name="adj" fmla="val 6176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 anchor="ctr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 certification scheme at Expert Level must meet the expectations and perceptions of its stakeholders and has to be seen to be truly “expert”. 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The exam therefore consists of a multiple-choice section and a written “essay” section 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 score </a:t>
              </a:r>
              <a:r>
                <a:rPr lang="en-US" altLang="it-IT" sz="1600" dirty="0" smtClean="0">
                  <a:latin typeface="Arial" pitchFamily="34" charset="0"/>
                </a:rPr>
                <a:t>of </a:t>
              </a:r>
              <a:r>
                <a:rPr lang="en-US" altLang="it-IT" sz="1600" dirty="0">
                  <a:latin typeface="Arial" pitchFamily="34" charset="0"/>
                </a:rPr>
                <a:t>7</a:t>
              </a:r>
              <a:r>
                <a:rPr lang="en-US" altLang="it-IT" sz="1600" dirty="0" smtClean="0">
                  <a:latin typeface="Arial" pitchFamily="34" charset="0"/>
                </a:rPr>
                <a:t>5</a:t>
              </a:r>
              <a:r>
                <a:rPr lang="en-US" altLang="it-IT" sz="1600" dirty="0">
                  <a:latin typeface="Arial" pitchFamily="34" charset="0"/>
                </a:rPr>
                <a:t>% </a:t>
              </a:r>
              <a:r>
                <a:rPr lang="en-US" altLang="it-IT" sz="1600" dirty="0" smtClean="0">
                  <a:latin typeface="Arial" pitchFamily="34" charset="0"/>
                </a:rPr>
                <a:t>and above is </a:t>
              </a:r>
              <a:r>
                <a:rPr lang="en-US" altLang="it-IT" sz="1600" dirty="0">
                  <a:latin typeface="Arial" pitchFamily="34" charset="0"/>
                </a:rPr>
                <a:t>required to pass</a:t>
              </a: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19" name="Freeform 86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204" y="935"/>
              <a:ext cx="5352" cy="204"/>
            </a:xfrm>
            <a:custGeom>
              <a:avLst/>
              <a:gdLst>
                <a:gd name="T0" fmla="*/ 2676 w 2676"/>
                <a:gd name="T1" fmla="*/ 28 h 102"/>
                <a:gd name="T2" fmla="*/ 2648 w 2676"/>
                <a:gd name="T3" fmla="*/ 0 h 102"/>
                <a:gd name="T4" fmla="*/ 28 w 2676"/>
                <a:gd name="T5" fmla="*/ 0 h 102"/>
                <a:gd name="T6" fmla="*/ 0 w 2676"/>
                <a:gd name="T7" fmla="*/ 28 h 102"/>
                <a:gd name="T8" fmla="*/ 0 w 2676"/>
                <a:gd name="T9" fmla="*/ 102 h 102"/>
                <a:gd name="T10" fmla="*/ 2676 w 2676"/>
                <a:gd name="T11" fmla="*/ 102 h 102"/>
                <a:gd name="T12" fmla="*/ 2676 w 2676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76"/>
                <a:gd name="T22" fmla="*/ 0 h 102"/>
                <a:gd name="T23" fmla="*/ 2676 w 2676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76" h="102">
                  <a:moveTo>
                    <a:pt x="2676" y="28"/>
                  </a:moveTo>
                  <a:cubicBezTo>
                    <a:pt x="2676" y="12"/>
                    <a:pt x="2664" y="0"/>
                    <a:pt x="264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2676" y="102"/>
                    <a:pt x="2676" y="102"/>
                    <a:pt x="2676" y="102"/>
                  </a:cubicBezTo>
                  <a:lnTo>
                    <a:pt x="2676" y="28"/>
                  </a:lnTo>
                  <a:close/>
                </a:path>
              </a:pathLst>
            </a:custGeom>
            <a:solidFill>
              <a:srgbClr val="002060"/>
            </a:soli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20" name="AutoShap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04" y="935"/>
              <a:ext cx="5352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The exam</a:t>
              </a:r>
            </a:p>
          </p:txBody>
        </p:sp>
      </p:grpSp>
      <p:grpSp>
        <p:nvGrpSpPr>
          <p:cNvPr id="21" name="Group 101"/>
          <p:cNvGrpSpPr>
            <a:grpSpLocks/>
          </p:cNvGrpSpPr>
          <p:nvPr/>
        </p:nvGrpSpPr>
        <p:grpSpPr bwMode="auto">
          <a:xfrm>
            <a:off x="323850" y="3246438"/>
            <a:ext cx="4119563" cy="2563812"/>
            <a:chOff x="204" y="1933"/>
            <a:chExt cx="1723" cy="1815"/>
          </a:xfrm>
        </p:grpSpPr>
        <p:sp>
          <p:nvSpPr>
            <p:cNvPr id="22" name="AutoShape 90" descr="Verlauf_weiss_grau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4" y="1933"/>
              <a:ext cx="1723" cy="1815"/>
            </a:xfrm>
            <a:prstGeom prst="roundRect">
              <a:avLst>
                <a:gd name="adj" fmla="val 3250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Duration: 1 Hour</a:t>
              </a: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 smtClean="0">
                  <a:latin typeface="Arial" pitchFamily="34" charset="0"/>
                </a:rPr>
                <a:t>25 </a:t>
              </a:r>
              <a:r>
                <a:rPr lang="en-US" altLang="it-IT" sz="1600" dirty="0">
                  <a:latin typeface="Arial" pitchFamily="34" charset="0"/>
                </a:rPr>
                <a:t>Questions</a:t>
              </a:r>
              <a:endParaRPr lang="de-DE" altLang="it-IT" sz="1600" dirty="0">
                <a:latin typeface="Arial" pitchFamily="34" charset="0"/>
              </a:endParaRP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Learning objectives covered:</a:t>
              </a:r>
              <a:br>
                <a:rPr lang="en-US" altLang="it-IT" sz="1600" dirty="0">
                  <a:latin typeface="Arial" pitchFamily="34" charset="0"/>
                </a:rPr>
              </a:br>
              <a:r>
                <a:rPr lang="en-US" altLang="it-IT" sz="1600" dirty="0">
                  <a:latin typeface="Arial" pitchFamily="34" charset="0"/>
                </a:rPr>
                <a:t>K2, K3, K4 (</a:t>
              </a:r>
              <a:r>
                <a:rPr lang="en-US" altLang="it-IT" sz="1600" dirty="0" smtClean="0">
                  <a:latin typeface="Arial" pitchFamily="34" charset="0"/>
                </a:rPr>
                <a:t>like in </a:t>
              </a:r>
              <a:r>
                <a:rPr lang="en-US" altLang="it-IT" sz="1600" dirty="0">
                  <a:latin typeface="Arial" pitchFamily="34" charset="0"/>
                </a:rPr>
                <a:t>Advanced Level)</a:t>
              </a:r>
            </a:p>
          </p:txBody>
        </p:sp>
        <p:sp>
          <p:nvSpPr>
            <p:cNvPr id="23" name="Freeform 91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04" y="1933"/>
              <a:ext cx="1723" cy="204"/>
            </a:xfrm>
            <a:custGeom>
              <a:avLst/>
              <a:gdLst>
                <a:gd name="T0" fmla="*/ 861 w 861"/>
                <a:gd name="T1" fmla="*/ 28 h 102"/>
                <a:gd name="T2" fmla="*/ 833 w 861"/>
                <a:gd name="T3" fmla="*/ 0 h 102"/>
                <a:gd name="T4" fmla="*/ 28 w 861"/>
                <a:gd name="T5" fmla="*/ 0 h 102"/>
                <a:gd name="T6" fmla="*/ 0 w 861"/>
                <a:gd name="T7" fmla="*/ 28 h 102"/>
                <a:gd name="T8" fmla="*/ 0 w 861"/>
                <a:gd name="T9" fmla="*/ 102 h 102"/>
                <a:gd name="T10" fmla="*/ 861 w 861"/>
                <a:gd name="T11" fmla="*/ 102 h 102"/>
                <a:gd name="T12" fmla="*/ 861 w 861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1"/>
                <a:gd name="T22" fmla="*/ 0 h 102"/>
                <a:gd name="T23" fmla="*/ 861 w 861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1" h="102">
                  <a:moveTo>
                    <a:pt x="861" y="28"/>
                  </a:moveTo>
                  <a:cubicBezTo>
                    <a:pt x="861" y="12"/>
                    <a:pt x="849" y="0"/>
                    <a:pt x="83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861" y="102"/>
                    <a:pt x="861" y="102"/>
                    <a:pt x="861" y="102"/>
                  </a:cubicBezTo>
                  <a:lnTo>
                    <a:pt x="861" y="28"/>
                  </a:lnTo>
                  <a:close/>
                </a:path>
              </a:pathLst>
            </a:custGeom>
            <a:solidFill>
              <a:srgbClr val="D31245"/>
            </a:solidFill>
            <a:ln w="6350" cap="flat" cmpd="sng">
              <a:solidFill>
                <a:srgbClr val="A800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24" name="AutoShap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933"/>
              <a:ext cx="1723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en-US" altLang="it-IT" sz="1600" dirty="0" smtClean="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Multiple-Choice section</a:t>
              </a:r>
              <a:endParaRPr lang="en-US" altLang="it-IT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25" name="Group 103"/>
          <p:cNvGrpSpPr>
            <a:grpSpLocks/>
          </p:cNvGrpSpPr>
          <p:nvPr/>
        </p:nvGrpSpPr>
        <p:grpSpPr bwMode="auto">
          <a:xfrm>
            <a:off x="4649788" y="3246438"/>
            <a:ext cx="4170362" cy="2576512"/>
            <a:chOff x="3833" y="1933"/>
            <a:chExt cx="1723" cy="1815"/>
          </a:xfrm>
        </p:grpSpPr>
        <p:sp>
          <p:nvSpPr>
            <p:cNvPr id="26" name="AutoShape 98" descr="Verlauf_weiss_grau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833" y="1933"/>
              <a:ext cx="1723" cy="1815"/>
            </a:xfrm>
            <a:prstGeom prst="roundRect">
              <a:avLst>
                <a:gd name="adj" fmla="val 3250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Duration: </a:t>
              </a:r>
            </a:p>
            <a:p>
              <a:pPr marL="466725" lvl="2" indent="-285750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600" dirty="0" smtClean="0">
                  <a:latin typeface="Arial" pitchFamily="34" charset="0"/>
                </a:rPr>
                <a:t>Reading</a:t>
              </a:r>
              <a:r>
                <a:rPr lang="en-US" altLang="it-IT" sz="1600" dirty="0">
                  <a:latin typeface="Arial" pitchFamily="34" charset="0"/>
                </a:rPr>
                <a:t>: ½ hour</a:t>
              </a:r>
            </a:p>
            <a:p>
              <a:pPr marL="466725" lvl="2" indent="-285750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600" dirty="0" smtClean="0">
                  <a:latin typeface="Arial" pitchFamily="34" charset="0"/>
                </a:rPr>
                <a:t>Answering</a:t>
              </a:r>
              <a:r>
                <a:rPr lang="en-US" altLang="it-IT" sz="1600" dirty="0">
                  <a:latin typeface="Arial" pitchFamily="34" charset="0"/>
                </a:rPr>
                <a:t>: 2 hours</a:t>
              </a:r>
            </a:p>
            <a:p>
              <a:pPr marL="466725" lvl="2" indent="-285750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600" dirty="0" smtClean="0">
                  <a:latin typeface="Arial" pitchFamily="34" charset="0"/>
                </a:rPr>
                <a:t>Add </a:t>
              </a:r>
              <a:r>
                <a:rPr lang="en-US" altLang="it-IT" sz="1600" dirty="0">
                  <a:latin typeface="Arial" pitchFamily="34" charset="0"/>
                </a:rPr>
                <a:t>¾ hour for non-native speakers</a:t>
              </a: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nswer 4 questions out of 5 </a:t>
              </a:r>
              <a:endParaRPr lang="de-DE" altLang="it-IT" sz="1600" dirty="0">
                <a:latin typeface="Arial" pitchFamily="34" charset="0"/>
              </a:endParaRP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Learning objectives covered: </a:t>
              </a:r>
              <a:br>
                <a:rPr lang="en-US" altLang="it-IT" sz="1600" dirty="0">
                  <a:latin typeface="Arial" pitchFamily="34" charset="0"/>
                </a:rPr>
              </a:br>
              <a:r>
                <a:rPr lang="en-US" altLang="it-IT" sz="1600" dirty="0">
                  <a:latin typeface="Arial" pitchFamily="34" charset="0"/>
                </a:rPr>
                <a:t>Mostly higher learning objectives (K5,K6)</a:t>
              </a: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27" name="Freeform 9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3833" y="1933"/>
              <a:ext cx="1723" cy="204"/>
            </a:xfrm>
            <a:custGeom>
              <a:avLst/>
              <a:gdLst>
                <a:gd name="T0" fmla="*/ 861 w 861"/>
                <a:gd name="T1" fmla="*/ 28 h 102"/>
                <a:gd name="T2" fmla="*/ 833 w 861"/>
                <a:gd name="T3" fmla="*/ 0 h 102"/>
                <a:gd name="T4" fmla="*/ 28 w 861"/>
                <a:gd name="T5" fmla="*/ 0 h 102"/>
                <a:gd name="T6" fmla="*/ 0 w 861"/>
                <a:gd name="T7" fmla="*/ 28 h 102"/>
                <a:gd name="T8" fmla="*/ 0 w 861"/>
                <a:gd name="T9" fmla="*/ 102 h 102"/>
                <a:gd name="T10" fmla="*/ 861 w 861"/>
                <a:gd name="T11" fmla="*/ 102 h 102"/>
                <a:gd name="T12" fmla="*/ 861 w 861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1"/>
                <a:gd name="T22" fmla="*/ 0 h 102"/>
                <a:gd name="T23" fmla="*/ 861 w 861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1" h="102">
                  <a:moveTo>
                    <a:pt x="861" y="28"/>
                  </a:moveTo>
                  <a:cubicBezTo>
                    <a:pt x="861" y="12"/>
                    <a:pt x="849" y="0"/>
                    <a:pt x="83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861" y="102"/>
                    <a:pt x="861" y="102"/>
                    <a:pt x="861" y="102"/>
                  </a:cubicBezTo>
                  <a:lnTo>
                    <a:pt x="861" y="28"/>
                  </a:lnTo>
                  <a:close/>
                </a:path>
              </a:pathLst>
            </a:custGeom>
            <a:solidFill>
              <a:srgbClr val="D31245"/>
            </a:solidFill>
            <a:ln w="6350" cap="flat" cmpd="sng">
              <a:solidFill>
                <a:srgbClr val="A800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28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833" y="1933"/>
              <a:ext cx="1723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Essay se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16192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AINTAINING EXPERT LEVEL CERTIFICATION</a:t>
            </a:r>
            <a:endParaRPr lang="it-IT" dirty="0"/>
          </a:p>
        </p:txBody>
      </p:sp>
      <p:grpSp>
        <p:nvGrpSpPr>
          <p:cNvPr id="5" name="Group 88"/>
          <p:cNvGrpSpPr>
            <a:grpSpLocks/>
          </p:cNvGrpSpPr>
          <p:nvPr/>
        </p:nvGrpSpPr>
        <p:grpSpPr bwMode="auto">
          <a:xfrm>
            <a:off x="323850" y="1311104"/>
            <a:ext cx="8496300" cy="1338262"/>
            <a:chOff x="204" y="935"/>
            <a:chExt cx="5352" cy="907"/>
          </a:xfrm>
        </p:grpSpPr>
        <p:sp>
          <p:nvSpPr>
            <p:cNvPr id="6" name="AutoShape 85" descr="Verlauf_weiss_grau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04" y="935"/>
              <a:ext cx="5352" cy="907"/>
            </a:xfrm>
            <a:prstGeom prst="roundRect">
              <a:avLst>
                <a:gd name="adj" fmla="val 6176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n Expert Level certificate is valid for 5 </a:t>
              </a:r>
              <a:r>
                <a:rPr lang="en-US" altLang="it-IT" sz="1600" dirty="0" smtClean="0">
                  <a:latin typeface="Arial" pitchFamily="34" charset="0"/>
                </a:rPr>
                <a:t>years</a:t>
              </a:r>
              <a:endParaRPr lang="en-US" altLang="it-IT" sz="1600" dirty="0">
                <a:latin typeface="Arial" pitchFamily="34" charset="0"/>
              </a:endParaRP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Expert certification must be renewed using one of the following two options </a:t>
              </a:r>
              <a:endParaRPr lang="de-DE" altLang="it-IT" sz="1600" dirty="0">
                <a:latin typeface="Arial" pitchFamily="34" charset="0"/>
              </a:endParaRPr>
            </a:p>
          </p:txBody>
        </p:sp>
        <p:sp>
          <p:nvSpPr>
            <p:cNvPr id="7" name="Freeform 86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204" y="935"/>
              <a:ext cx="5352" cy="204"/>
            </a:xfrm>
            <a:custGeom>
              <a:avLst/>
              <a:gdLst>
                <a:gd name="T0" fmla="*/ 2676 w 2676"/>
                <a:gd name="T1" fmla="*/ 28 h 102"/>
                <a:gd name="T2" fmla="*/ 2648 w 2676"/>
                <a:gd name="T3" fmla="*/ 0 h 102"/>
                <a:gd name="T4" fmla="*/ 28 w 2676"/>
                <a:gd name="T5" fmla="*/ 0 h 102"/>
                <a:gd name="T6" fmla="*/ 0 w 2676"/>
                <a:gd name="T7" fmla="*/ 28 h 102"/>
                <a:gd name="T8" fmla="*/ 0 w 2676"/>
                <a:gd name="T9" fmla="*/ 102 h 102"/>
                <a:gd name="T10" fmla="*/ 2676 w 2676"/>
                <a:gd name="T11" fmla="*/ 102 h 102"/>
                <a:gd name="T12" fmla="*/ 2676 w 2676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76"/>
                <a:gd name="T22" fmla="*/ 0 h 102"/>
                <a:gd name="T23" fmla="*/ 2676 w 2676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76" h="102">
                  <a:moveTo>
                    <a:pt x="2676" y="28"/>
                  </a:moveTo>
                  <a:cubicBezTo>
                    <a:pt x="2676" y="12"/>
                    <a:pt x="2664" y="0"/>
                    <a:pt x="264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2676" y="102"/>
                    <a:pt x="2676" y="102"/>
                    <a:pt x="2676" y="102"/>
                  </a:cubicBezTo>
                  <a:lnTo>
                    <a:pt x="2676" y="28"/>
                  </a:lnTo>
                  <a:close/>
                </a:path>
              </a:pathLst>
            </a:custGeom>
            <a:solidFill>
              <a:srgbClr val="002060"/>
            </a:solidFill>
            <a:ln w="6350" cap="flat" cmpd="sng">
              <a:solidFill>
                <a:srgbClr val="33333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8" name="AutoShape 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04" y="935"/>
              <a:ext cx="5352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de-DE" altLang="it-IT"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Expert certification is not for life</a:t>
              </a:r>
            </a:p>
          </p:txBody>
        </p:sp>
      </p:grpSp>
      <p:grpSp>
        <p:nvGrpSpPr>
          <p:cNvPr id="9" name="Group 101"/>
          <p:cNvGrpSpPr>
            <a:grpSpLocks/>
          </p:cNvGrpSpPr>
          <p:nvPr/>
        </p:nvGrpSpPr>
        <p:grpSpPr bwMode="auto">
          <a:xfrm>
            <a:off x="323850" y="2886993"/>
            <a:ext cx="1795463" cy="3406529"/>
            <a:chOff x="204" y="1933"/>
            <a:chExt cx="1723" cy="1815"/>
          </a:xfrm>
        </p:grpSpPr>
        <p:sp>
          <p:nvSpPr>
            <p:cNvPr id="10" name="AutoShape 90" descr="Verlauf_weiss_grau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4" y="1933"/>
              <a:ext cx="1723" cy="1815"/>
            </a:xfrm>
            <a:prstGeom prst="roundRect">
              <a:avLst>
                <a:gd name="adj" fmla="val 3250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/>
            <a:lstStyle>
              <a:lvl1pPr marL="342900" indent="-3429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79388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358775" indent="-1778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endParaRPr lang="en-US" altLang="it-IT" sz="1600" dirty="0">
                <a:latin typeface="Arial" pitchFamily="34" charset="0"/>
              </a:endParaRP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A passed exam results in certification for a further 5 </a:t>
              </a:r>
              <a:r>
                <a:rPr lang="en-US" altLang="it-IT" sz="1600" dirty="0" smtClean="0">
                  <a:latin typeface="Arial" pitchFamily="34" charset="0"/>
                </a:rPr>
                <a:t>years  </a:t>
              </a:r>
              <a:endParaRPr lang="en-US" altLang="it-IT" sz="1600" dirty="0">
                <a:latin typeface="Arial" pitchFamily="34" charset="0"/>
              </a:endParaRPr>
            </a:p>
          </p:txBody>
        </p:sp>
        <p:sp>
          <p:nvSpPr>
            <p:cNvPr id="11" name="Freeform 91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04" y="1933"/>
              <a:ext cx="1723" cy="204"/>
            </a:xfrm>
            <a:custGeom>
              <a:avLst/>
              <a:gdLst>
                <a:gd name="T0" fmla="*/ 861 w 861"/>
                <a:gd name="T1" fmla="*/ 28 h 102"/>
                <a:gd name="T2" fmla="*/ 833 w 861"/>
                <a:gd name="T3" fmla="*/ 0 h 102"/>
                <a:gd name="T4" fmla="*/ 28 w 861"/>
                <a:gd name="T5" fmla="*/ 0 h 102"/>
                <a:gd name="T6" fmla="*/ 0 w 861"/>
                <a:gd name="T7" fmla="*/ 28 h 102"/>
                <a:gd name="T8" fmla="*/ 0 w 861"/>
                <a:gd name="T9" fmla="*/ 102 h 102"/>
                <a:gd name="T10" fmla="*/ 861 w 861"/>
                <a:gd name="T11" fmla="*/ 102 h 102"/>
                <a:gd name="T12" fmla="*/ 861 w 861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1"/>
                <a:gd name="T22" fmla="*/ 0 h 102"/>
                <a:gd name="T23" fmla="*/ 861 w 861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1" h="102">
                  <a:moveTo>
                    <a:pt x="861" y="28"/>
                  </a:moveTo>
                  <a:cubicBezTo>
                    <a:pt x="861" y="12"/>
                    <a:pt x="849" y="0"/>
                    <a:pt x="83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861" y="102"/>
                    <a:pt x="861" y="102"/>
                    <a:pt x="861" y="102"/>
                  </a:cubicBezTo>
                  <a:lnTo>
                    <a:pt x="861" y="28"/>
                  </a:lnTo>
                  <a:close/>
                </a:path>
              </a:pathLst>
            </a:custGeom>
            <a:solidFill>
              <a:srgbClr val="D31245"/>
            </a:solidFill>
            <a:ln w="6350" cap="flat" cmpd="sng">
              <a:solidFill>
                <a:srgbClr val="A800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ctr"/>
            <a:lstStyle/>
            <a:p>
              <a:endParaRPr lang="it-IT"/>
            </a:p>
          </p:txBody>
        </p:sp>
        <p:sp>
          <p:nvSpPr>
            <p:cNvPr id="12" name="AutoShap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4" y="1933"/>
              <a:ext cx="1723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ctr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en-US" altLang="it-IT" sz="1600" dirty="0" smtClean="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Repeat the exam</a:t>
              </a:r>
              <a:endParaRPr lang="en-US" altLang="it-IT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oup 103"/>
          <p:cNvGrpSpPr>
            <a:grpSpLocks/>
          </p:cNvGrpSpPr>
          <p:nvPr/>
        </p:nvGrpSpPr>
        <p:grpSpPr bwMode="auto">
          <a:xfrm>
            <a:off x="2300288" y="2886993"/>
            <a:ext cx="6519862" cy="3406529"/>
            <a:chOff x="3833" y="1933"/>
            <a:chExt cx="1723" cy="1651"/>
          </a:xfrm>
        </p:grpSpPr>
        <p:sp>
          <p:nvSpPr>
            <p:cNvPr id="14" name="AutoShape 98" descr="Verlauf_weiss_grau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833" y="1933"/>
              <a:ext cx="1723" cy="1651"/>
            </a:xfrm>
            <a:prstGeom prst="roundRect">
              <a:avLst>
                <a:gd name="adj" fmla="val 3250"/>
              </a:avLst>
            </a:prstGeom>
            <a:blipFill dpi="0" rotWithShape="1">
              <a:blip r:embed="rId12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370800" rIns="72000" bIns="72000" anchor="b"/>
            <a:lstStyle>
              <a:lvl1pPr marL="355600" indent="-355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1169988" indent="-6350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349375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3209925" indent="-1062038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3617913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4075113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4532313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4989513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5446713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 smtClean="0">
                  <a:latin typeface="Arial" pitchFamily="34" charset="0"/>
                </a:rPr>
                <a:t>CECs </a:t>
              </a:r>
              <a:r>
                <a:rPr lang="en-US" altLang="it-IT" sz="1600" dirty="0">
                  <a:latin typeface="Arial" pitchFamily="34" charset="0"/>
                </a:rPr>
                <a:t>may be achieved in a number of areas. For example: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Perform a professional testing activity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Take a relevant training course 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Attend a testing conference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Present at a testing conference 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Teaching a relevant training course 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Write a testing article or book</a:t>
              </a:r>
            </a:p>
            <a:p>
              <a:pPr lvl="1" defTabSz="914400" eaLnBrk="1" hangingPunct="1">
                <a:lnSpc>
                  <a:spcPct val="90000"/>
                </a:lnSpc>
                <a:spcBef>
                  <a:spcPct val="25000"/>
                </a:spcBef>
                <a:buSzPct val="70000"/>
                <a:buFont typeface="Wingdings" panose="05000000000000000000" pitchFamily="2" charset="2"/>
                <a:buChar char="Ø"/>
              </a:pPr>
              <a:r>
                <a:rPr lang="en-US" altLang="it-IT" sz="1400" dirty="0">
                  <a:latin typeface="Arial" pitchFamily="34" charset="0"/>
                </a:rPr>
                <a:t>Actively participate in a Working Group </a:t>
              </a:r>
              <a:r>
                <a:rPr lang="en-US" altLang="it-IT" sz="1400" dirty="0" smtClean="0">
                  <a:latin typeface="Arial" pitchFamily="34" charset="0"/>
                </a:rPr>
                <a:t>(ISTQB® Member Boards,  </a:t>
              </a:r>
              <a:r>
                <a:rPr lang="en-US" altLang="it-IT" sz="1400" dirty="0">
                  <a:latin typeface="Arial" pitchFamily="34" charset="0"/>
                </a:rPr>
                <a:t>SIGIST,  </a:t>
              </a:r>
              <a:r>
                <a:rPr lang="en-US" altLang="it-IT" sz="1400" dirty="0" smtClean="0">
                  <a:latin typeface="Arial" pitchFamily="34" charset="0"/>
                </a:rPr>
                <a:t>….)</a:t>
              </a:r>
              <a:endParaRPr lang="en-US" altLang="it-IT" sz="1400" dirty="0">
                <a:latin typeface="Arial" pitchFamily="34" charset="0"/>
              </a:endParaRP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Verifiable evidence must be submitted to the certifier</a:t>
              </a:r>
            </a:p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  <a:buFont typeface="Wingdings" pitchFamily="2" charset="2"/>
                <a:buChar char="§"/>
              </a:pPr>
              <a:r>
                <a:rPr lang="en-US" altLang="it-IT" sz="1600" dirty="0">
                  <a:latin typeface="Arial" pitchFamily="34" charset="0"/>
                </a:rPr>
                <a:t>The Certification Extension Program is published by </a:t>
              </a:r>
              <a:r>
                <a:rPr lang="en-US" altLang="it-IT" sz="1600" dirty="0" smtClean="0">
                  <a:latin typeface="Arial" pitchFamily="34" charset="0"/>
                </a:rPr>
                <a:t>ISTQB</a:t>
              </a:r>
              <a:r>
                <a:rPr lang="en-US" altLang="it-IT" sz="1600" baseline="30000" dirty="0" smtClean="0">
                  <a:latin typeface="Arial" pitchFamily="34" charset="0"/>
                </a:rPr>
                <a:t>®</a:t>
              </a:r>
              <a:endParaRPr lang="en-US" altLang="it-IT" sz="1600" baseline="30000" dirty="0">
                <a:latin typeface="Arial" pitchFamily="34" charset="0"/>
              </a:endParaRPr>
            </a:p>
          </p:txBody>
        </p:sp>
        <p:sp>
          <p:nvSpPr>
            <p:cNvPr id="15" name="Freeform 9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3833" y="1933"/>
              <a:ext cx="1723" cy="204"/>
            </a:xfrm>
            <a:custGeom>
              <a:avLst/>
              <a:gdLst>
                <a:gd name="T0" fmla="*/ 861 w 861"/>
                <a:gd name="T1" fmla="*/ 28 h 102"/>
                <a:gd name="T2" fmla="*/ 833 w 861"/>
                <a:gd name="T3" fmla="*/ 0 h 102"/>
                <a:gd name="T4" fmla="*/ 28 w 861"/>
                <a:gd name="T5" fmla="*/ 0 h 102"/>
                <a:gd name="T6" fmla="*/ 0 w 861"/>
                <a:gd name="T7" fmla="*/ 28 h 102"/>
                <a:gd name="T8" fmla="*/ 0 w 861"/>
                <a:gd name="T9" fmla="*/ 102 h 102"/>
                <a:gd name="T10" fmla="*/ 861 w 861"/>
                <a:gd name="T11" fmla="*/ 102 h 102"/>
                <a:gd name="T12" fmla="*/ 861 w 861"/>
                <a:gd name="T13" fmla="*/ 28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1"/>
                <a:gd name="T22" fmla="*/ 0 h 102"/>
                <a:gd name="T23" fmla="*/ 861 w 861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1" h="102">
                  <a:moveTo>
                    <a:pt x="861" y="28"/>
                  </a:moveTo>
                  <a:cubicBezTo>
                    <a:pt x="861" y="12"/>
                    <a:pt x="849" y="0"/>
                    <a:pt x="833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2"/>
                    <a:pt x="0" y="28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861" y="102"/>
                    <a:pt x="861" y="102"/>
                    <a:pt x="861" y="102"/>
                  </a:cubicBezTo>
                  <a:lnTo>
                    <a:pt x="861" y="28"/>
                  </a:lnTo>
                  <a:close/>
                </a:path>
              </a:pathLst>
            </a:custGeom>
            <a:solidFill>
              <a:srgbClr val="D31245"/>
            </a:solidFill>
            <a:ln w="6350" cap="flat" cmpd="sng">
              <a:solidFill>
                <a:srgbClr val="A8005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72000" tIns="72000" rIns="72000" bIns="72000" anchor="b"/>
            <a:lstStyle/>
            <a:p>
              <a:endParaRPr lang="it-IT"/>
            </a:p>
          </p:txBody>
        </p:sp>
        <p:sp>
          <p:nvSpPr>
            <p:cNvPr id="16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833" y="1933"/>
              <a:ext cx="1723" cy="204"/>
            </a:xfrm>
            <a:prstGeom prst="roundRect">
              <a:avLst>
                <a:gd name="adj" fmla="val 27449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2000" tIns="72000" rIns="72000" bIns="72000" anchor="b"/>
            <a:lstStyle>
              <a:lvl1pPr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1pPr>
              <a:lvl2pPr marL="742950" indent="-28575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2pPr>
              <a:lvl3pPr marL="11430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3pPr>
              <a:lvl4pPr marL="16002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4pPr>
              <a:lvl5pPr marL="2057400" indent="-228600"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68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defRPr sz="2200">
                  <a:solidFill>
                    <a:schemeClr val="tx1"/>
                  </a:solidFill>
                  <a:latin typeface="Tele-GroteskNor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Bef>
                  <a:spcPct val="25000"/>
                </a:spcBef>
              </a:pPr>
              <a:r>
                <a:rPr lang="en-US" altLang="it-IT" sz="1600" dirty="0" smtClean="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rPr>
                <a:t>Achieve 200  „Certification Extension Credits“ (CEC)</a:t>
              </a:r>
              <a:endParaRPr lang="en-US" altLang="it-IT" sz="1600" dirty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7240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ma 12"/>
          <p:cNvGraphicFramePr/>
          <p:nvPr>
            <p:extLst>
              <p:ext uri="{D42A27DB-BD31-4B8C-83A1-F6EECF244321}">
                <p14:modId xmlns:p14="http://schemas.microsoft.com/office/powerpoint/2010/main" val="3248143930"/>
              </p:ext>
            </p:extLst>
          </p:nvPr>
        </p:nvGraphicFramePr>
        <p:xfrm>
          <a:off x="1043608" y="1753908"/>
          <a:ext cx="7488832" cy="4267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ONTENT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86832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Segnaposto contenuto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7706035"/>
              </p:ext>
            </p:extLst>
          </p:nvPr>
        </p:nvGraphicFramePr>
        <p:xfrm>
          <a:off x="457200" y="1340768"/>
          <a:ext cx="8229600" cy="505681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107069"/>
                <a:gridCol w="7122531"/>
              </a:tblGrid>
              <a:tr h="40911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1998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ISEB (Information Systems Examinations Board, part of the British Computer Society)  develops the Certified Tester Syllabus. The first Software Testers are certified in 1998</a:t>
                      </a:r>
                    </a:p>
                  </a:txBody>
                  <a:tcPr marL="87864" marR="87864" marT="41269" marB="41269"/>
                </a:tc>
              </a:tr>
              <a:tr h="524795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02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ISTQB</a:t>
                      </a:r>
                      <a:r>
                        <a:rPr lang="en-US" sz="1200" baseline="30000" dirty="0" smtClean="0">
                          <a:latin typeface="Arial" pitchFamily="34" charset="0"/>
                          <a:cs typeface="Arial" pitchFamily="34" charset="0"/>
                        </a:rPr>
                        <a:t>®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 (International Software Testing Qualifications Board) is founded by 8 member boards:  Austria, Denmark, Finland, Germany, Sweden, Switzerland, the Netherlands and UK.</a:t>
                      </a:r>
                      <a:endParaRPr lang="it-IT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/>
                </a:tc>
              </a:tr>
              <a:tr h="256127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03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syllabus for the “Advanced Level“ is completed</a:t>
                      </a:r>
                    </a:p>
                  </a:txBody>
                  <a:tcPr marL="87864" marR="87864" marT="41269" marB="41269"/>
                </a:tc>
              </a:tr>
              <a:tr h="256127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04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First exams for</a:t>
                      </a:r>
                      <a:r>
                        <a:rPr lang="en-US" sz="1200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“ISTQB</a:t>
                      </a:r>
                      <a:r>
                        <a:rPr lang="en-US" sz="1200" baseline="30000" dirty="0" smtClean="0">
                          <a:latin typeface="Arial" pitchFamily="34" charset="0"/>
                          <a:cs typeface="Arial" pitchFamily="34" charset="0"/>
                        </a:rPr>
                        <a:t>®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Certified Tester Advanced Level“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re released</a:t>
                      </a:r>
                    </a:p>
                  </a:txBody>
                  <a:tcPr marL="87864" marR="87864" marT="41269" marB="41269"/>
                </a:tc>
              </a:tr>
              <a:tr h="256127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06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number of member boards grows steadily</a:t>
                      </a:r>
                    </a:p>
                  </a:txBody>
                  <a:tcPr marL="87864" marR="87864" marT="41269" marB="41269"/>
                </a:tc>
              </a:tr>
              <a:tr h="278317">
                <a:tc>
                  <a:txBody>
                    <a:bodyPr/>
                    <a:lstStyle/>
                    <a:p>
                      <a:pPr algn="ctr"/>
                      <a:r>
                        <a:rPr lang="it-IT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07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Foundation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and Advanced Syllabi are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nhanced</a:t>
                      </a:r>
                    </a:p>
                  </a:txBody>
                  <a:tcPr marL="87864" marR="87864" marT="41269" marB="41269"/>
                </a:tc>
              </a:tr>
              <a:tr h="40911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09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854075" indent="-854075" algn="l" defTabSz="384175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number of Member Boards climbs further</a:t>
                      </a:r>
                    </a:p>
                    <a:p>
                      <a:pPr marL="854075" indent="-854075" algn="l" defTabSz="384175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he number of certifications reaches 100,000</a:t>
                      </a:r>
                    </a:p>
                  </a:txBody>
                  <a:tcPr marL="87864" marR="87864" marT="41269" marB="41269"/>
                </a:tc>
              </a:tr>
              <a:tr h="40911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0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384175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BCS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ithdraws the ISEB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Test Practitioner scheme in favor of ISTQB Certified Tester Advanced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Level.  The first “Expert Level” syllabus is released</a:t>
                      </a:r>
                    </a:p>
                  </a:txBody>
                  <a:tcPr marL="87864" marR="87864" marT="41269" marB="41269"/>
                </a:tc>
              </a:tr>
              <a:tr h="40911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1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he number of certifications exceeds 200,000 globally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Issue of additional Expert Level Syllabi</a:t>
                      </a:r>
                      <a:endParaRPr lang="en-US" sz="1200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/>
                </a:tc>
              </a:tr>
              <a:tr h="576009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2</a:t>
                      </a:r>
                    </a:p>
                    <a:p>
                      <a:pPr algn="ctr"/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384175">
                        <a:lnSpc>
                          <a:spcPct val="100000"/>
                        </a:lnSpc>
                        <a:spcBef>
                          <a:spcPts val="0"/>
                        </a:spcBef>
                        <a:buFont typeface="Wingdings" pitchFamily="2" charset="2"/>
                        <a:buNone/>
                        <a:defRPr/>
                      </a:pP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New version of the Advanced Level syllabus and Glossary Testin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g of Terms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;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Activation of the “ISTQB</a:t>
                      </a:r>
                      <a:r>
                        <a:rPr lang="en-US" sz="1200" baseline="30000" dirty="0" smtClean="0">
                          <a:latin typeface="Arial" pitchFamily="34" charset="0"/>
                          <a:cs typeface="Arial" pitchFamily="34" charset="0"/>
                        </a:rPr>
                        <a:t>®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 Partner Program”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; 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Activation of the “ISTQB</a:t>
                      </a:r>
                      <a:r>
                        <a:rPr lang="en-US" sz="1200" baseline="30000" dirty="0" smtClean="0">
                          <a:latin typeface="Arial" pitchFamily="34" charset="0"/>
                          <a:cs typeface="Arial" pitchFamily="34" charset="0"/>
                        </a:rPr>
                        <a:t>®</a:t>
                      </a:r>
                      <a:r>
                        <a:rPr lang="en-US" sz="1200" dirty="0" smtClean="0">
                          <a:latin typeface="Arial" pitchFamily="34" charset="0"/>
                          <a:cs typeface="Arial" pitchFamily="34" charset="0"/>
                        </a:rPr>
                        <a:t> Conference Network”;</a:t>
                      </a:r>
                      <a:r>
                        <a:rPr lang="en-US" sz="1200" baseline="0" dirty="0" smtClean="0">
                          <a:latin typeface="Arial" pitchFamily="34" charset="0"/>
                          <a:cs typeface="Arial" pitchFamily="34" charset="0"/>
                        </a:rPr>
                        <a:t> Activation of the 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“ISTQB</a:t>
                      </a:r>
                      <a:r>
                        <a:rPr lang="en-US" sz="1200" kern="1200" baseline="300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®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Recognized Mobile app” program; Launch of the “ISTQB</a:t>
                      </a:r>
                      <a:r>
                        <a:rPr lang="en-US" sz="1200" kern="1200" baseline="300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®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international Software Testing Excellence Award”</a:t>
                      </a:r>
                    </a:p>
                  </a:txBody>
                  <a:tcPr marL="87864" marR="87864" marT="41269" marB="41269"/>
                </a:tc>
              </a:tr>
              <a:tr h="353835">
                <a:tc>
                  <a:txBody>
                    <a:bodyPr/>
                    <a:lstStyle/>
                    <a:p>
                      <a:pPr algn="ctr"/>
                      <a:r>
                        <a:rPr lang="it-IT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he number of certifications exceeds 300,000 globally</a:t>
                      </a:r>
                    </a:p>
                  </a:txBody>
                  <a:tcPr marL="87864" marR="87864" marT="41269" marB="41269"/>
                </a:tc>
              </a:tr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it-IT" sz="13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it-IT" sz="13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864" marR="87864" marT="41269" marB="41269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gile Tester Syllabus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xpert Level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st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Automation Syllabi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7864" marR="87864" marT="41269" marB="41269"/>
                </a:tc>
              </a:tr>
            </a:tbl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STQB</a:t>
            </a:r>
            <a:r>
              <a:rPr lang="it-IT" baseline="30000" dirty="0" smtClean="0"/>
              <a:t>®</a:t>
            </a:r>
            <a:r>
              <a:rPr lang="de-DE" dirty="0" smtClean="0"/>
              <a:t> </a:t>
            </a:r>
            <a:r>
              <a:rPr lang="de-DE" dirty="0"/>
              <a:t>- </a:t>
            </a:r>
            <a:r>
              <a:rPr lang="de-DE" dirty="0" smtClean="0"/>
              <a:t>THE EVOLU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531523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RLD-WIDE COVERAGE</a:t>
            </a:r>
            <a:endParaRPr lang="it-IT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7565" y="1268760"/>
            <a:ext cx="7848870" cy="4032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tangolo 4"/>
          <p:cNvSpPr/>
          <p:nvPr/>
        </p:nvSpPr>
        <p:spPr>
          <a:xfrm>
            <a:off x="323528" y="5301208"/>
            <a:ext cx="8568952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rgbClr val="005288"/>
              </a:buClr>
              <a:buSzPct val="151000"/>
              <a:buFont typeface="Wingdings" panose="05000000000000000000" pitchFamily="2" charset="2"/>
              <a:buChar char="§"/>
            </a:pPr>
            <a:r>
              <a:rPr lang="en-US" sz="1500" dirty="0" smtClean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 </a:t>
            </a:r>
            <a:r>
              <a:rPr lang="en-US" sz="1500" dirty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red by </a:t>
            </a:r>
            <a:r>
              <a:rPr lang="en-US" sz="1500" dirty="0" smtClean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mber Boards (47 Member Boards covering 70 countries, representing over 90% of the world-wide GDP) and Global Exam Providers</a:t>
            </a:r>
          </a:p>
          <a:p>
            <a:pPr marL="285750" indent="-285750"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51000"/>
              <a:buFont typeface="Wingdings" panose="05000000000000000000" pitchFamily="2" charset="2"/>
              <a:buChar char="§"/>
            </a:pPr>
            <a:r>
              <a:rPr lang="en-US" sz="1500" dirty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ies covered by Global Exam Providers </a:t>
            </a:r>
            <a:endParaRPr lang="en-US" sz="1500" dirty="0" smtClean="0">
              <a:solidFill>
                <a:srgbClr val="0F38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bg1">
                  <a:lumMod val="65000"/>
                </a:schemeClr>
              </a:buClr>
              <a:buSzPct val="151000"/>
            </a:pPr>
            <a:r>
              <a:rPr lang="en-US" sz="1500" dirty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ist of Member Boards and Global Exam Providers is available on the ISTQB</a:t>
            </a:r>
            <a:r>
              <a:rPr lang="en-US" sz="1500" baseline="30000" dirty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500" dirty="0">
                <a:solidFill>
                  <a:srgbClr val="0F38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b Site</a:t>
            </a:r>
          </a:p>
          <a:p>
            <a:pPr marL="285750" indent="-285750">
              <a:buClr>
                <a:schemeClr val="bg1">
                  <a:lumMod val="65000"/>
                </a:schemeClr>
              </a:buClr>
              <a:buSzPct val="151000"/>
              <a:buFont typeface="Wingdings" panose="05000000000000000000" pitchFamily="2" charset="2"/>
              <a:buChar char="§"/>
            </a:pPr>
            <a:endParaRPr lang="en-US" sz="1500" dirty="0">
              <a:solidFill>
                <a:srgbClr val="0F38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997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Arial" pitchFamily="34" charset="0"/>
              </a:rPr>
              <a:t>ISTQB</a:t>
            </a:r>
            <a:r>
              <a:rPr lang="it-IT" baseline="30000" dirty="0"/>
              <a:t>®</a:t>
            </a:r>
            <a:r>
              <a:rPr lang="de-DE" dirty="0" smtClean="0">
                <a:cs typeface="Arial" pitchFamily="34" charset="0"/>
              </a:rPr>
              <a:t> MISSION</a:t>
            </a:r>
            <a:endParaRPr lang="it-IT" dirty="0">
              <a:cs typeface="Arial" pitchFamily="34" charset="0"/>
            </a:endParaRPr>
          </a:p>
        </p:txBody>
      </p:sp>
      <p:sp>
        <p:nvSpPr>
          <p:cNvPr id="8194" name="Segnaposto contenuto 1"/>
          <p:cNvSpPr>
            <a:spLocks noGrp="1"/>
          </p:cNvSpPr>
          <p:nvPr>
            <p:ph idx="1"/>
          </p:nvPr>
        </p:nvSpPr>
        <p:spPr>
          <a:xfrm>
            <a:off x="179512" y="1268760"/>
            <a:ext cx="6264696" cy="4525963"/>
          </a:xfrm>
        </p:spPr>
        <p:txBody>
          <a:bodyPr/>
          <a:lstStyle/>
          <a:p>
            <a:pPr marL="457200" indent="-457200">
              <a:buFont typeface="Calibri" pitchFamily="34" charset="0"/>
              <a:buAutoNum type="arabicParenR"/>
            </a:pPr>
            <a:r>
              <a:rPr lang="en-AU" sz="18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e promote the value of software testing as a profession to individuals and organizations.</a:t>
            </a:r>
            <a:endParaRPr lang="it-IT" sz="1800" dirty="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Calibri" pitchFamily="34" charset="0"/>
              <a:buAutoNum type="arabicParenR"/>
            </a:pPr>
            <a:r>
              <a:rPr lang="en-AU" sz="18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e help software testers to be more efficient and effective in their work, through the certification of competencies.</a:t>
            </a:r>
            <a:endParaRPr lang="it-IT" sz="1800" dirty="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Calibri" pitchFamily="34" charset="0"/>
              <a:buAutoNum type="arabicParenR"/>
            </a:pPr>
            <a:r>
              <a:rPr lang="en-AU" sz="18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e enable testers to progress their career through a Professionals’ Code of Ethics and a multi-level certification pathway that provides them with the skills and knowledge they need to fulfil their growing responsibilities and to achieve increased professionalism.</a:t>
            </a:r>
            <a:endParaRPr lang="it-IT" sz="1800" dirty="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Calibri" pitchFamily="34" charset="0"/>
              <a:buAutoNum type="arabicParenR"/>
            </a:pPr>
            <a:r>
              <a:rPr lang="en-GB" sz="18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e continually advance the Testing Body of Knowledge by drawing on the best available industry practices and the most innovative research, and we make this knowledge freely available to all.</a:t>
            </a:r>
            <a:endParaRPr lang="it-IT" sz="1800" dirty="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Calibri" pitchFamily="34" charset="0"/>
              <a:buAutoNum type="arabicParenR"/>
            </a:pPr>
            <a:r>
              <a:rPr lang="en-AU" sz="18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e set the criteria for accrediting training providers, to ensure consistent delivery of the Body of Knowledge, worldwide.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025" y="4365104"/>
            <a:ext cx="2287463" cy="17133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1744180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279301"/>
            <a:ext cx="8229600" cy="4525963"/>
          </a:xfrm>
        </p:spPr>
        <p:txBody>
          <a:bodyPr/>
          <a:lstStyle/>
          <a:p>
            <a:pPr>
              <a:defRPr/>
            </a:pPr>
            <a:endParaRPr lang="en-US" sz="1600" dirty="0" smtClean="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The distribution of Certificates issued by ISTQB</a:t>
            </a:r>
            <a:r>
              <a:rPr lang="en-US" sz="1400" baseline="30000" dirty="0" smtClean="0">
                <a:latin typeface="Arial" pitchFamily="34" charset="0"/>
                <a:cs typeface="Arial" pitchFamily="34" charset="0"/>
              </a:rPr>
              <a:t>®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as of September 2013 is as follows:</a:t>
            </a:r>
          </a:p>
          <a:p>
            <a:pPr marL="0" indent="0">
              <a:buFont typeface="Wingdings" pitchFamily="2" charset="2"/>
              <a:buNone/>
              <a:defRPr/>
            </a:pPr>
            <a:endParaRPr lang="it-IT" sz="2400" dirty="0" smtClean="0"/>
          </a:p>
          <a:p>
            <a:pPr marL="0" indent="0">
              <a:buFont typeface="Wingdings" pitchFamily="2" charset="2"/>
              <a:buNone/>
              <a:defRPr/>
            </a:pPr>
            <a:endParaRPr lang="it-IT" sz="2400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FOOTPRINT </a:t>
            </a:r>
            <a:br>
              <a:rPr lang="de-DE" dirty="0" smtClean="0"/>
            </a:br>
            <a:r>
              <a:rPr lang="de-DE" i="1" dirty="0" smtClean="0"/>
              <a:t>NUMBER OF CERTIFICATIONS</a:t>
            </a:r>
            <a:endParaRPr lang="it-IT" i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049290"/>
            <a:ext cx="7488832" cy="42600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49834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STQB</a:t>
            </a:r>
            <a:r>
              <a:rPr lang="it-IT" baseline="30000" dirty="0"/>
              <a:t>®</a:t>
            </a:r>
            <a:r>
              <a:rPr lang="de-DE" dirty="0"/>
              <a:t> </a:t>
            </a:r>
            <a:r>
              <a:rPr lang="de-DE" dirty="0" smtClean="0"/>
              <a:t>CERTIFICATES BY CONTINENT</a:t>
            </a:r>
            <a:endParaRPr lang="it-I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7615" y="1423119"/>
            <a:ext cx="7588771" cy="485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17080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ISTQB</a:t>
            </a:r>
            <a:r>
              <a:rPr lang="de-DE" baseline="30000" dirty="0" smtClean="0"/>
              <a:t>®</a:t>
            </a:r>
            <a:r>
              <a:rPr lang="de-DE" dirty="0" smtClean="0"/>
              <a:t> EXAM AVERAGE PASS-RATE</a:t>
            </a:r>
            <a:endParaRPr lang="it-IT" dirty="0"/>
          </a:p>
        </p:txBody>
      </p:sp>
      <p:pic>
        <p:nvPicPr>
          <p:cNvPr id="2050" name="Picture 2" descr="C:\Users\atalarico\Documents\ITA-STQB\San Francisco\Others\Charts\PassRat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82" y="1659979"/>
            <a:ext cx="8326437" cy="450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02018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STQB</a:t>
            </a:r>
            <a:r>
              <a:rPr lang="it-IT" baseline="30000" dirty="0"/>
              <a:t>®</a:t>
            </a:r>
            <a:r>
              <a:rPr lang="de-DE" dirty="0" smtClean="0"/>
              <a:t> </a:t>
            </a:r>
            <a:r>
              <a:rPr lang="de-DE" dirty="0"/>
              <a:t>MISSION</a:t>
            </a:r>
            <a:endParaRPr lang="it-IT" dirty="0"/>
          </a:p>
        </p:txBody>
      </p:sp>
      <p:sp>
        <p:nvSpPr>
          <p:cNvPr id="2" name="Segnaposto contenuto 1"/>
          <p:cNvSpPr>
            <a:spLocks noGrp="1"/>
          </p:cNvSpPr>
          <p:nvPr>
            <p:ph idx="1"/>
          </p:nvPr>
        </p:nvSpPr>
        <p:spPr>
          <a:xfrm>
            <a:off x="241176" y="1600200"/>
            <a:ext cx="6203032" cy="4525963"/>
          </a:xfrm>
        </p:spPr>
        <p:txBody>
          <a:bodyPr>
            <a:normAutofit fontScale="92500" lnSpcReduction="20000"/>
          </a:bodyPr>
          <a:lstStyle/>
          <a:p>
            <a:pPr marL="457200" indent="-457200">
              <a:buFont typeface="+mj-lt"/>
              <a:buAutoNum type="arabicParenR" startAt="6"/>
              <a:defRPr/>
            </a:pPr>
            <a:r>
              <a:rPr lang="en-AU" sz="1900" dirty="0">
                <a:cs typeface="Arial" pitchFamily="34" charset="0"/>
              </a:rPr>
              <a:t>We regulate the content and coverage of exam questions, the examination process, and the issuing of certifications by official examination bodies.</a:t>
            </a:r>
            <a:endParaRPr lang="it-IT" sz="1900" dirty="0">
              <a:cs typeface="Arial" pitchFamily="34" charset="0"/>
            </a:endParaRPr>
          </a:p>
          <a:p>
            <a:pPr marL="457200" indent="-457200">
              <a:buFont typeface="+mj-lt"/>
              <a:buAutoNum type="arabicParenR" startAt="6"/>
              <a:defRPr/>
            </a:pPr>
            <a:r>
              <a:rPr lang="en-AU" sz="1900" dirty="0" smtClean="0">
                <a:ea typeface="ＭＳ Ｐゴシック" pitchFamily="34" charset="-128"/>
                <a:cs typeface="Arial" pitchFamily="34" charset="0"/>
              </a:rPr>
              <a:t>We </a:t>
            </a:r>
            <a:r>
              <a:rPr lang="en-AU" sz="1900" dirty="0">
                <a:ea typeface="ＭＳ Ｐゴシック" pitchFamily="34" charset="-128"/>
                <a:cs typeface="Arial" pitchFamily="34" charset="0"/>
              </a:rPr>
              <a:t>are committed to expanding software testing certifications around the world, by admitting member boards into the </a:t>
            </a:r>
            <a:r>
              <a:rPr lang="it-IT" sz="1900" dirty="0">
                <a:ea typeface="ＭＳ Ｐゴシック" pitchFamily="34" charset="-128"/>
                <a:cs typeface="Arial" pitchFamily="34" charset="0"/>
              </a:rPr>
              <a:t>ISTQB</a:t>
            </a:r>
            <a:r>
              <a:rPr lang="en-US" sz="1900" baseline="30000" dirty="0">
                <a:ea typeface="ＭＳ Ｐゴシック" pitchFamily="34" charset="-128"/>
                <a:cs typeface="Arial" pitchFamily="34" charset="0"/>
              </a:rPr>
              <a:t>®</a:t>
            </a:r>
            <a:r>
              <a:rPr lang="en-AU" sz="1900" dirty="0">
                <a:ea typeface="ＭＳ Ｐゴシック" pitchFamily="34" charset="-128"/>
                <a:cs typeface="Arial" pitchFamily="34" charset="0"/>
              </a:rPr>
              <a:t>. These boards adhere to the constitution, bylaws, and processes defined by the </a:t>
            </a:r>
            <a:r>
              <a:rPr lang="it-IT" sz="1900" dirty="0">
                <a:ea typeface="ＭＳ Ｐゴシック" pitchFamily="34" charset="-128"/>
                <a:cs typeface="Arial" pitchFamily="34" charset="0"/>
              </a:rPr>
              <a:t>ISTQB</a:t>
            </a:r>
            <a:r>
              <a:rPr lang="en-US" sz="1900" baseline="30000" dirty="0">
                <a:ea typeface="ＭＳ Ｐゴシック" pitchFamily="34" charset="-128"/>
                <a:cs typeface="Arial" pitchFamily="34" charset="0"/>
              </a:rPr>
              <a:t>®</a:t>
            </a:r>
            <a:r>
              <a:rPr lang="en-AU" sz="1900" dirty="0">
                <a:ea typeface="ＭＳ Ｐゴシック" pitchFamily="34" charset="-128"/>
                <a:cs typeface="Arial" pitchFamily="34" charset="0"/>
              </a:rPr>
              <a:t>, and participate in regular audits.</a:t>
            </a:r>
            <a:endParaRPr lang="it-IT" sz="1900" dirty="0"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+mj-lt"/>
              <a:buAutoNum type="arabicParenR" startAt="6"/>
              <a:defRPr/>
            </a:pPr>
            <a:r>
              <a:rPr lang="en-GB" sz="1900" dirty="0">
                <a:ea typeface="ＭＳ Ｐゴシック" pitchFamily="34" charset="-128"/>
                <a:cs typeface="Arial" pitchFamily="34" charset="0"/>
              </a:rPr>
              <a:t>We nurture an open international community, committed to sharing knowledge, ideas, and innovations in software testing.</a:t>
            </a:r>
            <a:endParaRPr lang="it-IT" sz="1900" dirty="0"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+mj-lt"/>
              <a:buAutoNum type="arabicParenR" startAt="6"/>
              <a:defRPr/>
            </a:pPr>
            <a:r>
              <a:rPr lang="en-GB" sz="1900" dirty="0">
                <a:ea typeface="ＭＳ Ｐゴシック" pitchFamily="34" charset="-128"/>
                <a:cs typeface="Arial" pitchFamily="34" charset="0"/>
              </a:rPr>
              <a:t>We foster relationships with academia, government, media, professional associations and other interested parties.</a:t>
            </a:r>
            <a:endParaRPr lang="it-IT" sz="1900" dirty="0">
              <a:ea typeface="ＭＳ Ｐゴシック" pitchFamily="34" charset="-128"/>
              <a:cs typeface="Arial" pitchFamily="34" charset="0"/>
            </a:endParaRPr>
          </a:p>
          <a:p>
            <a:pPr marL="457200" indent="-457200">
              <a:buFont typeface="+mj-lt"/>
              <a:buAutoNum type="arabicParenR" startAt="6"/>
              <a:defRPr/>
            </a:pPr>
            <a:r>
              <a:rPr lang="en-GB" sz="1900" dirty="0">
                <a:ea typeface="ＭＳ Ｐゴシック" pitchFamily="34" charset="-128"/>
                <a:cs typeface="Arial" pitchFamily="34" charset="0"/>
              </a:rPr>
              <a:t>We provide a reference point against which the effectiveness of testing services can be evaluated, by maintaining our prominence as a respected source of knowledge in software testing.</a:t>
            </a:r>
            <a:endParaRPr lang="it-IT" sz="1900" dirty="0">
              <a:ea typeface="ＭＳ Ｐゴシック" pitchFamily="34" charset="-128"/>
              <a:cs typeface="Arial" pitchFamily="34" charset="0"/>
            </a:endParaRPr>
          </a:p>
          <a:p>
            <a:endParaRPr lang="it-I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7025" y="4365104"/>
            <a:ext cx="2287463" cy="17133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3599092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Arial" pitchFamily="34" charset="0"/>
              </a:rPr>
              <a:t>ISTQB</a:t>
            </a:r>
            <a:r>
              <a:rPr lang="it-IT" baseline="30000" dirty="0"/>
              <a:t>®</a:t>
            </a:r>
            <a:r>
              <a:rPr lang="de-DE" dirty="0" smtClean="0">
                <a:cs typeface="Arial" pitchFamily="34" charset="0"/>
              </a:rPr>
              <a:t> VALUES</a:t>
            </a:r>
            <a:endParaRPr lang="it-IT" dirty="0"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412776"/>
            <a:ext cx="5184576" cy="5096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Bild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6584" y="3172433"/>
            <a:ext cx="2179320" cy="143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4519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it-IT" sz="1800" dirty="0" err="1" smtClean="0"/>
              <a:t>Technavio</a:t>
            </a:r>
            <a:r>
              <a:rPr lang="it-IT" sz="1800" dirty="0" smtClean="0"/>
              <a:t>, an </a:t>
            </a:r>
            <a:r>
              <a:rPr lang="en-US" sz="1800" dirty="0" smtClean="0"/>
              <a:t>independent technology research </a:t>
            </a:r>
            <a:r>
              <a:rPr lang="en-US" sz="1800" dirty="0"/>
              <a:t>and advisory </a:t>
            </a:r>
            <a:r>
              <a:rPr lang="en-US" sz="1800" dirty="0" smtClean="0"/>
              <a:t>company, analyzed t</a:t>
            </a:r>
            <a:r>
              <a:rPr lang="ru-RU" sz="1800" dirty="0" smtClean="0"/>
              <a:t>he </a:t>
            </a:r>
            <a:r>
              <a:rPr lang="ru-RU" sz="1800" dirty="0"/>
              <a:t>key challenges faced by the Global Software Testing Services </a:t>
            </a:r>
            <a:r>
              <a:rPr lang="ru-RU" sz="1800" dirty="0" smtClean="0"/>
              <a:t>market</a:t>
            </a:r>
            <a:r>
              <a:rPr lang="it-IT" sz="1800" dirty="0" smtClean="0"/>
              <a:t>, </a:t>
            </a:r>
            <a:r>
              <a:rPr lang="en-US" sz="1800" dirty="0" smtClean="0"/>
              <a:t>highlighting in particular </a:t>
            </a:r>
            <a:r>
              <a:rPr lang="it-IT" sz="1800" dirty="0" smtClean="0"/>
              <a:t>the </a:t>
            </a:r>
            <a:r>
              <a:rPr lang="en-AU" sz="1800" dirty="0"/>
              <a:t>“</a:t>
            </a:r>
            <a:r>
              <a:rPr lang="ru-RU" sz="1800" dirty="0"/>
              <a:t>Shortage of Skilled Labor</a:t>
            </a:r>
            <a:r>
              <a:rPr lang="en-AU" sz="1800" dirty="0"/>
              <a:t>”</a:t>
            </a:r>
            <a:endParaRPr lang="it-IT" sz="1800" dirty="0"/>
          </a:p>
          <a:p>
            <a:pPr lvl="2">
              <a:spcBef>
                <a:spcPts val="1200"/>
              </a:spcBef>
            </a:pPr>
            <a:r>
              <a:rPr lang="ru-RU" dirty="0" smtClean="0"/>
              <a:t>The Global Pure Play Software Testing Services market is growing rapidly, thus increasing the demand for skilled labor. However, this has created a disparity in supply and demand, as a result of which, </a:t>
            </a:r>
            <a:r>
              <a:rPr lang="ru-RU" b="1" dirty="0" smtClean="0"/>
              <a:t>sourcing and retaining skilled labor has become a challenge.</a:t>
            </a:r>
            <a:endParaRPr lang="it-IT" b="1" dirty="0" smtClean="0"/>
          </a:p>
          <a:p>
            <a:pPr lvl="2">
              <a:spcBef>
                <a:spcPts val="1200"/>
              </a:spcBef>
            </a:pPr>
            <a:r>
              <a:rPr lang="en-US" dirty="0"/>
              <a:t>The shortage of availability of required skills is now becoming a major challenge for the independent software testing organizations. 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dirty="0" smtClean="0"/>
              <a:t>SOFTWARE TESTING </a:t>
            </a:r>
            <a:r>
              <a:rPr lang="it-IT" b="1" dirty="0" smtClean="0">
                <a:latin typeface="+mj-lt"/>
              </a:rPr>
              <a:t>MARKET</a:t>
            </a:r>
            <a:r>
              <a:rPr lang="it-IT" b="1" dirty="0" smtClean="0"/>
              <a:t> CHALLENGES</a:t>
            </a:r>
            <a:br>
              <a:rPr lang="it-IT" b="1" dirty="0" smtClean="0"/>
            </a:br>
            <a:r>
              <a:rPr lang="ru-RU" i="1" dirty="0"/>
              <a:t>Shortage of Skilled Labor</a:t>
            </a:r>
            <a:endParaRPr lang="it-IT" b="1" dirty="0"/>
          </a:p>
        </p:txBody>
      </p:sp>
      <p:sp>
        <p:nvSpPr>
          <p:cNvPr id="5" name="Freccia angolare in su 4"/>
          <p:cNvSpPr/>
          <p:nvPr/>
        </p:nvSpPr>
        <p:spPr>
          <a:xfrm rot="5400000">
            <a:off x="683568" y="2492896"/>
            <a:ext cx="504056" cy="504056"/>
          </a:xfrm>
          <a:prstGeom prst="bent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Freccia angolare in su 5"/>
          <p:cNvSpPr/>
          <p:nvPr/>
        </p:nvSpPr>
        <p:spPr>
          <a:xfrm rot="5400000">
            <a:off x="683568" y="3717032"/>
            <a:ext cx="504056" cy="504056"/>
          </a:xfrm>
          <a:prstGeom prst="bent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Rettangolo arrotondato 7"/>
          <p:cNvSpPr/>
          <p:nvPr/>
        </p:nvSpPr>
        <p:spPr>
          <a:xfrm>
            <a:off x="431540" y="4897576"/>
            <a:ext cx="8280920" cy="11237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000" b="1" dirty="0">
                <a:latin typeface="Arial" pitchFamily="34" charset="0"/>
                <a:cs typeface="Arial" pitchFamily="34" charset="0"/>
              </a:rPr>
              <a:t>Since the current educational system is not geared up to the required standards and demands of the  market, this challenge is expected to have a bigger impact on the market in the future. </a:t>
            </a:r>
          </a:p>
        </p:txBody>
      </p:sp>
      <p:sp>
        <p:nvSpPr>
          <p:cNvPr id="10" name="Rettangolo 9"/>
          <p:cNvSpPr/>
          <p:nvPr/>
        </p:nvSpPr>
        <p:spPr>
          <a:xfrm>
            <a:off x="2843808" y="6058163"/>
            <a:ext cx="583308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t-IT" sz="1500" dirty="0" smtClean="0">
                <a:solidFill>
                  <a:prstClr val="black"/>
                </a:solidFill>
                <a:ea typeface="ＭＳ Ｐゴシック" pitchFamily="-107" charset="-128"/>
              </a:rPr>
              <a:t>(Global </a:t>
            </a:r>
            <a:r>
              <a:rPr lang="it-IT" sz="1500" dirty="0">
                <a:solidFill>
                  <a:prstClr val="black"/>
                </a:solidFill>
                <a:ea typeface="ＭＳ Ｐゴシック" pitchFamily="-107" charset="-128"/>
              </a:rPr>
              <a:t>Software Testing Services Market 2011-2015, </a:t>
            </a:r>
            <a:r>
              <a:rPr lang="it-IT" sz="1500" dirty="0" err="1">
                <a:solidFill>
                  <a:prstClr val="black"/>
                </a:solidFill>
                <a:ea typeface="ＭＳ Ｐゴシック" pitchFamily="-107" charset="-128"/>
              </a:rPr>
              <a:t>Technavio</a:t>
            </a:r>
            <a:r>
              <a:rPr lang="it-IT" sz="1500" dirty="0">
                <a:solidFill>
                  <a:prstClr val="black"/>
                </a:solidFill>
                <a:ea typeface="ＭＳ Ｐゴシック" pitchFamily="-107" charset="-128"/>
              </a:rPr>
              <a:t>)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143985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2692896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/>
              <a:t>As part of its commitment to continuous improvement and the </a:t>
            </a:r>
            <a:r>
              <a:rPr lang="en-US" sz="1800" dirty="0"/>
              <a:t>advancement of the software testing profession, </a:t>
            </a:r>
            <a:r>
              <a:rPr lang="en-US" sz="1800" dirty="0" smtClean="0"/>
              <a:t>in 2013 ISTQB</a:t>
            </a:r>
            <a:r>
              <a:rPr lang="en-US" sz="1800" baseline="30000" dirty="0" smtClean="0"/>
              <a:t>®</a:t>
            </a:r>
            <a:r>
              <a:rPr lang="en-US" sz="1800" dirty="0" smtClean="0"/>
              <a:t> conducted an international online </a:t>
            </a:r>
            <a:r>
              <a:rPr lang="en-US" sz="1800" dirty="0"/>
              <a:t>survey </a:t>
            </a:r>
            <a:r>
              <a:rPr lang="en-US" sz="1800" dirty="0" smtClean="0"/>
              <a:t>for </a:t>
            </a:r>
            <a:r>
              <a:rPr lang="en-US" sz="1800" dirty="0"/>
              <a:t>test engineers and managers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800" dirty="0"/>
              <a:t>The </a:t>
            </a:r>
            <a:r>
              <a:rPr lang="en-US" sz="1800" dirty="0" smtClean="0"/>
              <a:t>survey was open from June to September </a:t>
            </a:r>
            <a:r>
              <a:rPr lang="en-US" sz="1800" dirty="0"/>
              <a:t>2013 </a:t>
            </a:r>
            <a:r>
              <a:rPr lang="en-US" sz="1800" dirty="0" smtClean="0"/>
              <a:t>and several </a:t>
            </a:r>
            <a:r>
              <a:rPr lang="en-US" sz="1800" dirty="0"/>
              <a:t>thousand responses were received from </a:t>
            </a:r>
            <a:r>
              <a:rPr lang="en-US" sz="1800" dirty="0" smtClean="0"/>
              <a:t>almost 70 countries; in particular, respondents were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smtClean="0"/>
              <a:t>2855 test engineers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400" dirty="0" smtClean="0"/>
              <a:t>779 test managers</a:t>
            </a:r>
            <a:endParaRPr lang="en-US" sz="1400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ISTBQ</a:t>
            </a:r>
            <a:r>
              <a:rPr lang="en-US" b="1" baseline="30000" dirty="0" smtClean="0"/>
              <a:t>®</a:t>
            </a:r>
            <a:r>
              <a:rPr lang="en-US" b="1" dirty="0" smtClean="0"/>
              <a:t> EFFECTIVENESS SURVEY</a:t>
            </a:r>
            <a:endParaRPr lang="en-US" b="1" dirty="0"/>
          </a:p>
        </p:txBody>
      </p:sp>
      <p:pic>
        <p:nvPicPr>
          <p:cNvPr id="9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18375" y="3356992"/>
            <a:ext cx="1967274" cy="27629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Rettangolo 3"/>
          <p:cNvSpPr/>
          <p:nvPr/>
        </p:nvSpPr>
        <p:spPr>
          <a:xfrm>
            <a:off x="539552" y="4077072"/>
            <a:ext cx="410445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In the </a:t>
            </a:r>
            <a:r>
              <a:rPr lang="en-US" dirty="0" smtClean="0"/>
              <a:t>remainder </a:t>
            </a:r>
            <a:r>
              <a:rPr lang="en-US" dirty="0"/>
              <a:t>of this presentation, references will be made to some key results of the survey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The full report is available for free download from the </a:t>
            </a:r>
            <a:r>
              <a:rPr lang="en-US" dirty="0">
                <a:hlinkClick r:id="rId3"/>
              </a:rPr>
              <a:t>ISTQB </a:t>
            </a:r>
            <a:r>
              <a:rPr lang="en-US" baseline="30000" dirty="0" smtClean="0">
                <a:hlinkClick r:id="rId3"/>
              </a:rPr>
              <a:t>®</a:t>
            </a:r>
            <a:r>
              <a:rPr lang="en-US" dirty="0" smtClean="0">
                <a:hlinkClick r:id="rId3"/>
              </a:rPr>
              <a:t> </a:t>
            </a:r>
            <a:r>
              <a:rPr lang="en-US" dirty="0">
                <a:hlinkClick r:id="rId3"/>
              </a:rPr>
              <a:t>Web </a:t>
            </a:r>
            <a:r>
              <a:rPr lang="en-US" dirty="0" smtClean="0">
                <a:hlinkClick r:id="rId3"/>
              </a:rPr>
              <a:t>Si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5832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vOsztlUOxk62Ro4Jt8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7tEICsl0S3zDV8DOEP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d_I9O_NhUus59tXlPwv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t26Uei8Umoe3.GFOq4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ctZWOn0fEChsKVPZqaU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d_I9O_NhUus59tXlPwv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t26Uei8Umoe3.GFOq4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ctZWOn0fEChsKVPZqaU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e0PAwyRk2HFBsD8Mw3wA"/>
  <p:tag name="VCT-RADIUS" val="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uly5GQJk6RjAuEhhh3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aGnZ3AGmE2yNEo64nVb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snS4tMx02fEUmT6EFCuQ"/>
  <p:tag name="VCT-RADIUS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e0PAwyRk2HFBsD8Mw3wA"/>
  <p:tag name="VCT-RADIUS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uly5GQJk6RjAuEhhh34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aGnZ3AGmE2yNEo64nVb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snS4tMx02fEUmT6EFCuQ"/>
  <p:tag name="VCT-RADIUS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8_BUPQrEKthshNELxP3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du4jBx2Aky75wnFvWS0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e0PAwyRk2HFBsD8Mw3wA"/>
  <p:tag name="VCT-RADIUS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uly5GQJk6RjAuEhhh3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aGnZ3AGmE2yNEo64nVb8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e0PAwyRk2HFBsD8Mw3wA"/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8_BUPQrEKthshNELxP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uly5GQJk6RjAuEhhh3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aGnZ3AGmE2yNEo64nVb8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snS4tMx02fEUmT6EFCuQ"/>
  <p:tag name="VCT-RADIUS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8_BUPQrEKthshNELxP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du4jBx2Aky75wnFvWS0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du4jBx2Aky75wnFvWS0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snS4tMx02fEUmT6EFCuQ"/>
  <p:tag name="VCT-RADIU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8_BUPQrEKthshNELxP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Zdu4jBx2Aky75wnFvWS0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5vWxzdekWJcPblTf49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7tEICsl0S3zDV8DOEPPw"/>
</p:tagLst>
</file>

<file path=ppt/theme/theme1.xml><?xml version="1.0" encoding="utf-8"?>
<a:theme xmlns:a="http://schemas.openxmlformats.org/drawingml/2006/main" name="ISTQB_Nutshell_2014_March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STQB">
      <a:majorFont>
        <a:latin typeface="Univers 47 CondensedLight"/>
        <a:ea typeface=""/>
        <a:cs typeface=""/>
      </a:majorFont>
      <a:minorFont>
        <a:latin typeface="Univers 47 Condensed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STQB">
      <a:majorFont>
        <a:latin typeface="Univers 47 CondensedLight"/>
        <a:ea typeface=""/>
        <a:cs typeface=""/>
      </a:majorFont>
      <a:minorFont>
        <a:latin typeface="Univers 47 Condensed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STQB_Nutshell_2014_March</Template>
  <TotalTime>580</TotalTime>
  <Words>2971</Words>
  <Application>Microsoft Macintosh PowerPoint</Application>
  <PresentationFormat>On-screen Show (4:3)</PresentationFormat>
  <Paragraphs>470</Paragraphs>
  <Slides>52</Slides>
  <Notes>5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2</vt:i4>
      </vt:variant>
    </vt:vector>
  </HeadingPairs>
  <TitlesOfParts>
    <vt:vector size="54" baseType="lpstr">
      <vt:lpstr>ISTQB_Nutshell_2014_March</vt:lpstr>
      <vt:lpstr>1_Office-Design</vt:lpstr>
      <vt:lpstr>PowerPoint Presentation</vt:lpstr>
      <vt:lpstr>WHAT  IS THE  ISTQB®?</vt:lpstr>
      <vt:lpstr>ISTQB® ADVANCED LEVEL SMARTSHOW</vt:lpstr>
      <vt:lpstr>ISTQB® VISION</vt:lpstr>
      <vt:lpstr>ISTQB® MISSION</vt:lpstr>
      <vt:lpstr>ISTQB® MISSION</vt:lpstr>
      <vt:lpstr>ISTQB® VALUES</vt:lpstr>
      <vt:lpstr>SOFTWARE TESTING MARKET CHALLENGES Shortage of Skilled Labor</vt:lpstr>
      <vt:lpstr>ISTBQ® EFFECTIVENESS SURVEY</vt:lpstr>
      <vt:lpstr>BENEFITS FOR PROFESSIONALS</vt:lpstr>
      <vt:lpstr>BENEFITS FOR COMPANIES</vt:lpstr>
      <vt:lpstr>CONTENTS</vt:lpstr>
      <vt:lpstr>ISTQB® SYLLABI AND GLOSSARY</vt:lpstr>
      <vt:lpstr>PowerPoint Presentation</vt:lpstr>
      <vt:lpstr>CONTENTS</vt:lpstr>
      <vt:lpstr>ISTQB® FOUNDATION LEVEL</vt:lpstr>
      <vt:lpstr>CONTENTS</vt:lpstr>
      <vt:lpstr>ISTQB® EXTENSIONS</vt:lpstr>
      <vt:lpstr>THE CONTRIBUTION OF AGILE TESTERS</vt:lpstr>
      <vt:lpstr>ISTQB® FOUNDATION LEVEL  AGILE TESTER</vt:lpstr>
      <vt:lpstr>LEARNING OBJECTIVES OF CHAPTER 1</vt:lpstr>
      <vt:lpstr>LEARNING OBJECTIVES OF CHAPTER 2</vt:lpstr>
      <vt:lpstr>LEARNING OBJECTIVES OF CHAPTER 3 (1)</vt:lpstr>
      <vt:lpstr>LEARNING OBJECTIVES OF CHAPTER 3 (2)</vt:lpstr>
      <vt:lpstr>CONTENTS</vt:lpstr>
      <vt:lpstr>ISTQB® ADVANCED LEVEL</vt:lpstr>
      <vt:lpstr>ISTQB® ADVANCED LEVEL TEST MANAGER (AL-TM)</vt:lpstr>
      <vt:lpstr>ISTQB® ADVANCED LEVEL TEST ANALYST (AL-TA)</vt:lpstr>
      <vt:lpstr>ISTQB® ADVANCED LEVEL TECHNICAL TEST ANALYST (AL – TTA)</vt:lpstr>
      <vt:lpstr>CONTENTS</vt:lpstr>
      <vt:lpstr>ISTQB® EXPERT LEVEL</vt:lpstr>
      <vt:lpstr>STATUS OF EXPERT LEVEL SYLLABI</vt:lpstr>
      <vt:lpstr>PRE-REQUISITES FOR EXPERT LEVEL</vt:lpstr>
      <vt:lpstr>ISTQB® EXPERT LEVEL TEST MANAGEMENT</vt:lpstr>
      <vt:lpstr>ISTQB® EXPERT LEVEL STRATEGIC TEST MANAGEMENT</vt:lpstr>
      <vt:lpstr>ISTQB® EXPERT LEVEL OPERATIONAL TEST MANAGEMENT</vt:lpstr>
      <vt:lpstr>ISTQB® EXPERT LEVEL MANAGING THE TEST TEAM</vt:lpstr>
      <vt:lpstr>ISTQB® EXPERT LEVEL IMPROVING THE TESTING PROCESS</vt:lpstr>
      <vt:lpstr>ISTQB® EXPERT LEVEL ASSESSING TEST PROCESSES</vt:lpstr>
      <vt:lpstr>ISTQB® EXPERT LEVEL IMPLEMENTING TEST PROCESS IMPROVEMENT</vt:lpstr>
      <vt:lpstr>CONTENTS</vt:lpstr>
      <vt:lpstr>EXAMS</vt:lpstr>
      <vt:lpstr>EXAM QUESTIONS</vt:lpstr>
      <vt:lpstr>CRITERIA TO ACHIEVE EXPERT LEVEL</vt:lpstr>
      <vt:lpstr>EXPERT LEVEL EXAM</vt:lpstr>
      <vt:lpstr>MAINTAINING EXPERT LEVEL CERTIFICATION</vt:lpstr>
      <vt:lpstr>CONTENTS</vt:lpstr>
      <vt:lpstr>ISTQB® - THE EVOLUTION</vt:lpstr>
      <vt:lpstr>WORLD-WIDE COVERAGE</vt:lpstr>
      <vt:lpstr>FOOTPRINT  NUMBER OF CERTIFICATIONS</vt:lpstr>
      <vt:lpstr>ISTQB® CERTIFICATES BY CONTINENT</vt:lpstr>
      <vt:lpstr>ISTQB® EXAM AVERAGE PASS-RATE</vt:lpstr>
    </vt:vector>
  </TitlesOfParts>
  <Company>Alten Italia S.p.A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Andrea Talarico</dc:creator>
  <cp:lastModifiedBy>jean-pierre corriveau</cp:lastModifiedBy>
  <cp:revision>37</cp:revision>
  <dcterms:created xsi:type="dcterms:W3CDTF">2014-05-19T14:01:05Z</dcterms:created>
  <dcterms:modified xsi:type="dcterms:W3CDTF">2019-11-18T13:54:31Z</dcterms:modified>
</cp:coreProperties>
</file>